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2.xml" ContentType="application/vnd.openxmlformats-officedocument.theme+xml"/>
  <Override PartName="/ppt/tags/tag4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0"/>
  </p:notesMasterIdLst>
  <p:sldIdLst>
    <p:sldId id="335" r:id="rId5"/>
    <p:sldId id="334" r:id="rId6"/>
    <p:sldId id="333" r:id="rId7"/>
    <p:sldId id="336" r:id="rId8"/>
    <p:sldId id="337" r:id="rId9"/>
    <p:sldId id="345" r:id="rId10"/>
    <p:sldId id="338" r:id="rId11"/>
    <p:sldId id="346" r:id="rId12"/>
    <p:sldId id="347" r:id="rId13"/>
    <p:sldId id="348" r:id="rId14"/>
    <p:sldId id="349" r:id="rId15"/>
    <p:sldId id="343" r:id="rId16"/>
    <p:sldId id="351" r:id="rId17"/>
    <p:sldId id="352" r:id="rId18"/>
    <p:sldId id="340" r:id="rId19"/>
  </p:sldIdLst>
  <p:sldSz cx="12192000" cy="6858000"/>
  <p:notesSz cx="6858000" cy="9144000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Quick Guide" id="{5FB0A83E-B3BB-470C-9D42-7EBAA6FBD998}">
          <p14:sldIdLst/>
        </p14:section>
        <p14:section name="Available layouts" id="{4A45C9A3-32E6-45CA-90B8-ACCF9BB97CE1}">
          <p14:sldIdLst>
            <p14:sldId id="335"/>
            <p14:sldId id="334"/>
            <p14:sldId id="333"/>
            <p14:sldId id="336"/>
            <p14:sldId id="337"/>
            <p14:sldId id="345"/>
            <p14:sldId id="338"/>
            <p14:sldId id="346"/>
            <p14:sldId id="347"/>
            <p14:sldId id="348"/>
            <p14:sldId id="349"/>
            <p14:sldId id="343"/>
            <p14:sldId id="351"/>
            <p14:sldId id="352"/>
            <p14:sldId id="340"/>
          </p14:sldIdLst>
        </p14:section>
      </p14:sectionLst>
    </p:ext>
    <p:ext uri="{EFAFB233-063F-42B5-8137-9DF3F51BA10A}">
      <p15:sldGuideLst xmlns:p15="http://schemas.microsoft.com/office/powerpoint/2012/main">
        <p15:guide id="2" pos="3817" userDrawn="1">
          <p15:clr>
            <a:srgbClr val="A4A3A4"/>
          </p15:clr>
        </p15:guide>
        <p15:guide id="3" orient="horz" pos="2727" userDrawn="1">
          <p15:clr>
            <a:srgbClr val="A4A3A4"/>
          </p15:clr>
        </p15:guide>
        <p15:guide id="4" orient="horz" pos="3915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EC27003-A16B-478E-6937-3ACCC63195E2}" name="Sophia Rybing | i-pointing" initials="SR" userId="S::sophia.rybing@i-pointing.de::684fd05d-6aec-4bfc-a972-e30661d28a6b" providerId="AD"/>
  <p188:author id="{6BF52E52-6CEE-EDBB-300A-3BF6A29DC9A4}" name="Guest User" initials="GU" userId="S::urn:spo:anon#60fdd5421a9e105bd1d5e418a08a3ff40636ed9aeb9ec006da57b78e5833957a::" providerId="AD"/>
  <p188:author id="{0F6D3E57-D49F-0515-5126-05A1DFFC49B3}" name="roxana-aniela.oroian@mhp.com" initials="ro" userId="S::urn:spo:guest#roxana-aniela.oroian@mhp.com::" providerId="AD"/>
  <p188:author id="{0F5E8DEE-DC95-EB92-8B53-D347D73635FE}" name="Giulia-Lavinia Jean" initials="GJ" userId="S::giulia-lavinia.jean@mhp.com::5a5624c6-683e-461a-b219-9ada4575c4f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2626"/>
    <a:srgbClr val="000000"/>
    <a:srgbClr val="F610FB"/>
    <a:srgbClr val="2235C4"/>
    <a:srgbClr val="3264FF"/>
    <a:srgbClr val="87BC49"/>
    <a:srgbClr val="9DCC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969" autoAdjust="0"/>
    <p:restoredTop sz="94658"/>
  </p:normalViewPr>
  <p:slideViewPr>
    <p:cSldViewPr snapToGrid="0">
      <p:cViewPr varScale="1">
        <p:scale>
          <a:sx n="116" d="100"/>
          <a:sy n="116" d="100"/>
        </p:scale>
        <p:origin x="1224" y="176"/>
      </p:cViewPr>
      <p:guideLst>
        <p:guide pos="3817"/>
        <p:guide orient="horz" pos="2727"/>
        <p:guide orient="horz" pos="391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72FF537-E2B8-4E36-BA2F-60B92E7FDEAD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39AD2830-F078-4E22-B13B-6C4F5C43DFA7}">
      <dgm:prSet/>
      <dgm:spPr/>
      <dgm:t>
        <a:bodyPr/>
        <a:lstStyle/>
        <a:p>
          <a:r>
            <a:rPr lang="en-GB"/>
            <a:t>Boy Scout Rule</a:t>
          </a:r>
          <a:endParaRPr lang="en-US"/>
        </a:p>
      </dgm:t>
    </dgm:pt>
    <dgm:pt modelId="{46E69DF3-1C23-465C-9126-719EA79FAE24}" type="parTrans" cxnId="{494E342F-9843-4025-9AEB-DBD1C2149ABF}">
      <dgm:prSet/>
      <dgm:spPr/>
      <dgm:t>
        <a:bodyPr/>
        <a:lstStyle/>
        <a:p>
          <a:endParaRPr lang="en-US"/>
        </a:p>
      </dgm:t>
    </dgm:pt>
    <dgm:pt modelId="{17D40523-1B0E-4961-BF64-20D9DE8F59CB}" type="sibTrans" cxnId="{494E342F-9843-4025-9AEB-DBD1C2149ABF}">
      <dgm:prSet/>
      <dgm:spPr/>
      <dgm:t>
        <a:bodyPr/>
        <a:lstStyle/>
        <a:p>
          <a:endParaRPr lang="en-US"/>
        </a:p>
      </dgm:t>
    </dgm:pt>
    <dgm:pt modelId="{DB534BC5-EBC7-402E-8DB0-2972C2671B92}">
      <dgm:prSet/>
      <dgm:spPr/>
      <dgm:t>
        <a:bodyPr/>
        <a:lstStyle/>
        <a:p>
          <a:r>
            <a:rPr lang="en-GB" dirty="0"/>
            <a:t>Keep code cleaner than you found it</a:t>
          </a:r>
          <a:endParaRPr lang="en-US" dirty="0"/>
        </a:p>
      </dgm:t>
    </dgm:pt>
    <dgm:pt modelId="{8471AD6E-F3A5-49F7-B6F5-D8192148E52F}" type="parTrans" cxnId="{36FDD668-3080-461F-BDB5-05D19637B836}">
      <dgm:prSet/>
      <dgm:spPr/>
      <dgm:t>
        <a:bodyPr/>
        <a:lstStyle/>
        <a:p>
          <a:endParaRPr lang="en-US"/>
        </a:p>
      </dgm:t>
    </dgm:pt>
    <dgm:pt modelId="{636EB20F-9712-4977-9B48-380DEDD21891}" type="sibTrans" cxnId="{36FDD668-3080-461F-BDB5-05D19637B836}">
      <dgm:prSet/>
      <dgm:spPr/>
      <dgm:t>
        <a:bodyPr/>
        <a:lstStyle/>
        <a:p>
          <a:endParaRPr lang="en-US"/>
        </a:p>
      </dgm:t>
    </dgm:pt>
    <dgm:pt modelId="{EF6FCAAC-964C-41B2-80E3-9308123B8759}">
      <dgm:prSet/>
      <dgm:spPr/>
      <dgm:t>
        <a:bodyPr/>
        <a:lstStyle/>
        <a:p>
          <a:r>
            <a:rPr lang="en-GB"/>
            <a:t>If you are working on a method that has technical dept clean it up</a:t>
          </a:r>
          <a:endParaRPr lang="en-US"/>
        </a:p>
      </dgm:t>
    </dgm:pt>
    <dgm:pt modelId="{CB3703AF-4D3B-41C2-8962-EA39DE7A20B3}" type="parTrans" cxnId="{583D5490-D014-40D4-B8A3-7F965AE74146}">
      <dgm:prSet/>
      <dgm:spPr/>
      <dgm:t>
        <a:bodyPr/>
        <a:lstStyle/>
        <a:p>
          <a:endParaRPr lang="en-US"/>
        </a:p>
      </dgm:t>
    </dgm:pt>
    <dgm:pt modelId="{6AC26E25-1523-4892-A3AB-B09056D06F74}" type="sibTrans" cxnId="{583D5490-D014-40D4-B8A3-7F965AE74146}">
      <dgm:prSet/>
      <dgm:spPr/>
      <dgm:t>
        <a:bodyPr/>
        <a:lstStyle/>
        <a:p>
          <a:endParaRPr lang="en-US"/>
        </a:p>
      </dgm:t>
    </dgm:pt>
    <dgm:pt modelId="{66DBA07A-7C7E-431F-A0B6-901EDF94517A}">
      <dgm:prSet/>
      <dgm:spPr/>
      <dgm:t>
        <a:bodyPr/>
        <a:lstStyle/>
        <a:p>
          <a:r>
            <a:rPr lang="en-GB"/>
            <a:t>While you are at it, clean up the surrounding levels</a:t>
          </a:r>
          <a:endParaRPr lang="en-US"/>
        </a:p>
      </dgm:t>
    </dgm:pt>
    <dgm:pt modelId="{05DDA983-925A-4FEB-96E5-954FD14E54E9}" type="parTrans" cxnId="{AC2040E6-04D3-4CFE-AA7B-4C2EF0EAE8BE}">
      <dgm:prSet/>
      <dgm:spPr/>
      <dgm:t>
        <a:bodyPr/>
        <a:lstStyle/>
        <a:p>
          <a:endParaRPr lang="en-US"/>
        </a:p>
      </dgm:t>
    </dgm:pt>
    <dgm:pt modelId="{1B9421DB-8224-4B1E-AC2C-826B4C82CA3D}" type="sibTrans" cxnId="{AC2040E6-04D3-4CFE-AA7B-4C2EF0EAE8BE}">
      <dgm:prSet/>
      <dgm:spPr/>
      <dgm:t>
        <a:bodyPr/>
        <a:lstStyle/>
        <a:p>
          <a:endParaRPr lang="en-US"/>
        </a:p>
      </dgm:t>
    </dgm:pt>
    <dgm:pt modelId="{5A6CC3F7-BFEE-4CCD-87DE-FC5286A7F03C}">
      <dgm:prSet/>
      <dgm:spPr/>
      <dgm:t>
        <a:bodyPr/>
        <a:lstStyle/>
        <a:p>
          <a:r>
            <a:rPr lang="en-GB" dirty="0"/>
            <a:t>Make sure new code is always clean</a:t>
          </a:r>
          <a:endParaRPr lang="en-US" dirty="0"/>
        </a:p>
      </dgm:t>
    </dgm:pt>
    <dgm:pt modelId="{196A0403-F098-4F87-9D79-B8FBAE1FE28F}" type="parTrans" cxnId="{75B776E6-E96C-409D-94B2-CDA2C60582AC}">
      <dgm:prSet/>
      <dgm:spPr/>
      <dgm:t>
        <a:bodyPr/>
        <a:lstStyle/>
        <a:p>
          <a:endParaRPr lang="en-US"/>
        </a:p>
      </dgm:t>
    </dgm:pt>
    <dgm:pt modelId="{2EB75AAF-EEF2-4135-83F6-4B5052594B78}" type="sibTrans" cxnId="{75B776E6-E96C-409D-94B2-CDA2C60582AC}">
      <dgm:prSet/>
      <dgm:spPr/>
      <dgm:t>
        <a:bodyPr/>
        <a:lstStyle/>
        <a:p>
          <a:endParaRPr lang="en-US"/>
        </a:p>
      </dgm:t>
    </dgm:pt>
    <dgm:pt modelId="{17E1B993-A6F6-45FA-8B96-26FDD205D0A9}">
      <dgm:prSet/>
      <dgm:spPr/>
      <dgm:t>
        <a:bodyPr/>
        <a:lstStyle/>
        <a:p>
          <a:r>
            <a:rPr lang="en-GB"/>
            <a:t>Separate and Clarify Multi-Threaded Code</a:t>
          </a:r>
          <a:endParaRPr lang="en-US"/>
        </a:p>
      </dgm:t>
    </dgm:pt>
    <dgm:pt modelId="{0E9B1E64-ADA1-440E-A5B4-2D8691A75BAE}" type="parTrans" cxnId="{7FA5A466-050C-4701-9C7B-73CEFDCC8B84}">
      <dgm:prSet/>
      <dgm:spPr/>
      <dgm:t>
        <a:bodyPr/>
        <a:lstStyle/>
        <a:p>
          <a:endParaRPr lang="en-US"/>
        </a:p>
      </dgm:t>
    </dgm:pt>
    <dgm:pt modelId="{3D7FE6AB-A47E-4774-8177-34E570037BDC}" type="sibTrans" cxnId="{7FA5A466-050C-4701-9C7B-73CEFDCC8B84}">
      <dgm:prSet/>
      <dgm:spPr/>
      <dgm:t>
        <a:bodyPr/>
        <a:lstStyle/>
        <a:p>
          <a:endParaRPr lang="en-US"/>
        </a:p>
      </dgm:t>
    </dgm:pt>
    <dgm:pt modelId="{798D15C1-C659-4193-83E6-CB5E25C5F41A}">
      <dgm:prSet/>
      <dgm:spPr/>
      <dgm:t>
        <a:bodyPr/>
        <a:lstStyle/>
        <a:p>
          <a:r>
            <a:rPr lang="en-GB"/>
            <a:t>Create an own file for multi-threaded code</a:t>
          </a:r>
          <a:endParaRPr lang="en-US"/>
        </a:p>
      </dgm:t>
    </dgm:pt>
    <dgm:pt modelId="{1E300D68-F651-4AD6-BACE-535F47ED4A7A}" type="parTrans" cxnId="{7C67952B-94CF-42CB-BE17-0507053F0312}">
      <dgm:prSet/>
      <dgm:spPr/>
      <dgm:t>
        <a:bodyPr/>
        <a:lstStyle/>
        <a:p>
          <a:endParaRPr lang="en-US"/>
        </a:p>
      </dgm:t>
    </dgm:pt>
    <dgm:pt modelId="{BD021A89-F008-4391-AFC7-881A2E7AB676}" type="sibTrans" cxnId="{7C67952B-94CF-42CB-BE17-0507053F0312}">
      <dgm:prSet/>
      <dgm:spPr/>
      <dgm:t>
        <a:bodyPr/>
        <a:lstStyle/>
        <a:p>
          <a:endParaRPr lang="en-US"/>
        </a:p>
      </dgm:t>
    </dgm:pt>
    <dgm:pt modelId="{BBC7D63B-214B-4CB8-A8AB-F098A4E84F74}">
      <dgm:prSet/>
      <dgm:spPr/>
      <dgm:t>
        <a:bodyPr/>
        <a:lstStyle/>
        <a:p>
          <a:r>
            <a:rPr lang="en-GB" dirty="0"/>
            <a:t>Call clarify it by the class and method names like </a:t>
          </a:r>
          <a:r>
            <a:rPr lang="en-GB" dirty="0" err="1"/>
            <a:t>FileLoaderAsync</a:t>
          </a:r>
          <a:r>
            <a:rPr lang="en-GB" dirty="0"/>
            <a:t> </a:t>
          </a:r>
          <a:r>
            <a:rPr lang="en-GB" dirty="0" err="1"/>
            <a:t>loadFilesAsync</a:t>
          </a:r>
          <a:r>
            <a:rPr lang="en-GB" dirty="0"/>
            <a:t>()</a:t>
          </a:r>
          <a:endParaRPr lang="en-US" dirty="0"/>
        </a:p>
      </dgm:t>
    </dgm:pt>
    <dgm:pt modelId="{B30E01BB-9CB7-4846-B21B-242C1B728DE8}" type="parTrans" cxnId="{646273A3-070B-45A2-9B84-0CD94413DE2B}">
      <dgm:prSet/>
      <dgm:spPr/>
      <dgm:t>
        <a:bodyPr/>
        <a:lstStyle/>
        <a:p>
          <a:endParaRPr lang="en-US"/>
        </a:p>
      </dgm:t>
    </dgm:pt>
    <dgm:pt modelId="{1D3D86F1-3745-49BE-A70F-3F3066D974AD}" type="sibTrans" cxnId="{646273A3-070B-45A2-9B84-0CD94413DE2B}">
      <dgm:prSet/>
      <dgm:spPr/>
      <dgm:t>
        <a:bodyPr/>
        <a:lstStyle/>
        <a:p>
          <a:endParaRPr lang="en-US"/>
        </a:p>
      </dgm:t>
    </dgm:pt>
    <dgm:pt modelId="{AC9EC2FE-AC49-4279-A97F-817262E73CDA}">
      <dgm:prSet/>
      <dgm:spPr/>
      <dgm:t>
        <a:bodyPr/>
        <a:lstStyle/>
        <a:p>
          <a:r>
            <a:rPr lang="en-GB"/>
            <a:t>Exception Handling</a:t>
          </a:r>
          <a:endParaRPr lang="en-US"/>
        </a:p>
      </dgm:t>
    </dgm:pt>
    <dgm:pt modelId="{A97F5968-C3E5-4304-875B-7B3C5F71D715}" type="parTrans" cxnId="{0414995A-F6B9-4437-A1A4-3851A982C485}">
      <dgm:prSet/>
      <dgm:spPr/>
      <dgm:t>
        <a:bodyPr/>
        <a:lstStyle/>
        <a:p>
          <a:endParaRPr lang="en-US"/>
        </a:p>
      </dgm:t>
    </dgm:pt>
    <dgm:pt modelId="{E1EEA286-F36B-4A20-84CA-16E9A1C48F4D}" type="sibTrans" cxnId="{0414995A-F6B9-4437-A1A4-3851A982C485}">
      <dgm:prSet/>
      <dgm:spPr/>
      <dgm:t>
        <a:bodyPr/>
        <a:lstStyle/>
        <a:p>
          <a:endParaRPr lang="en-US"/>
        </a:p>
      </dgm:t>
    </dgm:pt>
    <dgm:pt modelId="{FA4DF903-24E6-4915-86F6-5A3A81B35403}">
      <dgm:prSet/>
      <dgm:spPr/>
      <dgm:t>
        <a:bodyPr/>
        <a:lstStyle/>
        <a:p>
          <a:r>
            <a:rPr lang="en-GB"/>
            <a:t>Don’t drop exceptions</a:t>
          </a:r>
          <a:endParaRPr lang="en-US"/>
        </a:p>
      </dgm:t>
    </dgm:pt>
    <dgm:pt modelId="{5FEDD465-E3F1-4FCC-9440-6B9D1490A067}" type="parTrans" cxnId="{883050A6-E66D-48A9-A1FE-041013BD340C}">
      <dgm:prSet/>
      <dgm:spPr/>
      <dgm:t>
        <a:bodyPr/>
        <a:lstStyle/>
        <a:p>
          <a:endParaRPr lang="en-US"/>
        </a:p>
      </dgm:t>
    </dgm:pt>
    <dgm:pt modelId="{310132A6-4270-4165-8C1B-F0C880FB5DFB}" type="sibTrans" cxnId="{883050A6-E66D-48A9-A1FE-041013BD340C}">
      <dgm:prSet/>
      <dgm:spPr/>
      <dgm:t>
        <a:bodyPr/>
        <a:lstStyle/>
        <a:p>
          <a:endParaRPr lang="en-US"/>
        </a:p>
      </dgm:t>
    </dgm:pt>
    <dgm:pt modelId="{01888734-B3E3-4CE0-9B36-199F8203D2F0}">
      <dgm:prSet/>
      <dgm:spPr/>
      <dgm:t>
        <a:bodyPr/>
        <a:lstStyle/>
        <a:p>
          <a:r>
            <a:rPr lang="en-GB"/>
            <a:t>Catch exceptions as specific as possible</a:t>
          </a:r>
          <a:endParaRPr lang="en-US"/>
        </a:p>
      </dgm:t>
    </dgm:pt>
    <dgm:pt modelId="{397B6ED2-86CF-491C-9185-3D8616D73A69}" type="parTrans" cxnId="{03D01C18-7DF9-40D0-9557-A005B28F09C6}">
      <dgm:prSet/>
      <dgm:spPr/>
      <dgm:t>
        <a:bodyPr/>
        <a:lstStyle/>
        <a:p>
          <a:endParaRPr lang="en-US"/>
        </a:p>
      </dgm:t>
    </dgm:pt>
    <dgm:pt modelId="{11B5A708-0C79-4BD6-83D7-D1525CBD7086}" type="sibTrans" cxnId="{03D01C18-7DF9-40D0-9557-A005B28F09C6}">
      <dgm:prSet/>
      <dgm:spPr/>
      <dgm:t>
        <a:bodyPr/>
        <a:lstStyle/>
        <a:p>
          <a:endParaRPr lang="en-US"/>
        </a:p>
      </dgm:t>
    </dgm:pt>
    <dgm:pt modelId="{F07F5B88-9E6B-4335-AC14-ACDD1E247655}">
      <dgm:prSet/>
      <dgm:spPr/>
      <dgm:t>
        <a:bodyPr/>
        <a:lstStyle/>
        <a:p>
          <a:r>
            <a:rPr lang="en-GB"/>
            <a:t>If you can’t catch a specific exception, catch the broad exception in the upper stack chain</a:t>
          </a:r>
          <a:endParaRPr lang="en-US"/>
        </a:p>
      </dgm:t>
    </dgm:pt>
    <dgm:pt modelId="{8A691708-7753-474C-989C-93578FA706B0}" type="parTrans" cxnId="{76A59907-11C8-4B66-B3ED-8703E62CB3FB}">
      <dgm:prSet/>
      <dgm:spPr/>
      <dgm:t>
        <a:bodyPr/>
        <a:lstStyle/>
        <a:p>
          <a:endParaRPr lang="en-US"/>
        </a:p>
      </dgm:t>
    </dgm:pt>
    <dgm:pt modelId="{0D0480BB-03E3-40B1-B6C1-A09E5ED1FCBB}" type="sibTrans" cxnId="{76A59907-11C8-4B66-B3ED-8703E62CB3FB}">
      <dgm:prSet/>
      <dgm:spPr/>
      <dgm:t>
        <a:bodyPr/>
        <a:lstStyle/>
        <a:p>
          <a:endParaRPr lang="en-US"/>
        </a:p>
      </dgm:t>
    </dgm:pt>
    <dgm:pt modelId="{B91B1CB0-DD99-E840-97C8-6864B41261EB}" type="pres">
      <dgm:prSet presAssocID="{172FF537-E2B8-4E36-BA2F-60B92E7FDEAD}" presName="linear" presStyleCnt="0">
        <dgm:presLayoutVars>
          <dgm:dir/>
          <dgm:animLvl val="lvl"/>
          <dgm:resizeHandles val="exact"/>
        </dgm:presLayoutVars>
      </dgm:prSet>
      <dgm:spPr/>
    </dgm:pt>
    <dgm:pt modelId="{2A9C0824-7CC8-3D40-8D5D-D5A3733F3791}" type="pres">
      <dgm:prSet presAssocID="{39AD2830-F078-4E22-B13B-6C4F5C43DFA7}" presName="parentLin" presStyleCnt="0"/>
      <dgm:spPr/>
    </dgm:pt>
    <dgm:pt modelId="{89F30397-5175-5342-8D64-991796783303}" type="pres">
      <dgm:prSet presAssocID="{39AD2830-F078-4E22-B13B-6C4F5C43DFA7}" presName="parentLeftMargin" presStyleLbl="node1" presStyleIdx="0" presStyleCnt="3"/>
      <dgm:spPr/>
    </dgm:pt>
    <dgm:pt modelId="{42A052A9-69EA-E345-9B7E-33D4E7C0DC98}" type="pres">
      <dgm:prSet presAssocID="{39AD2830-F078-4E22-B13B-6C4F5C43DFA7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04B2CF60-6E89-634E-8D3A-9EC9A4FC8FD8}" type="pres">
      <dgm:prSet presAssocID="{39AD2830-F078-4E22-B13B-6C4F5C43DFA7}" presName="negativeSpace" presStyleCnt="0"/>
      <dgm:spPr/>
    </dgm:pt>
    <dgm:pt modelId="{E05E1F67-62E9-4745-849D-B4A627A3F686}" type="pres">
      <dgm:prSet presAssocID="{39AD2830-F078-4E22-B13B-6C4F5C43DFA7}" presName="childText" presStyleLbl="conFgAcc1" presStyleIdx="0" presStyleCnt="3">
        <dgm:presLayoutVars>
          <dgm:bulletEnabled val="1"/>
        </dgm:presLayoutVars>
      </dgm:prSet>
      <dgm:spPr/>
    </dgm:pt>
    <dgm:pt modelId="{BD4883CD-FF6F-2F42-B36A-F8941F872087}" type="pres">
      <dgm:prSet presAssocID="{17D40523-1B0E-4961-BF64-20D9DE8F59CB}" presName="spaceBetweenRectangles" presStyleCnt="0"/>
      <dgm:spPr/>
    </dgm:pt>
    <dgm:pt modelId="{4E79AC4F-C024-A14D-A444-B895E5D48339}" type="pres">
      <dgm:prSet presAssocID="{17E1B993-A6F6-45FA-8B96-26FDD205D0A9}" presName="parentLin" presStyleCnt="0"/>
      <dgm:spPr/>
    </dgm:pt>
    <dgm:pt modelId="{2590529F-BBB2-B145-90CD-BBCA38961462}" type="pres">
      <dgm:prSet presAssocID="{17E1B993-A6F6-45FA-8B96-26FDD205D0A9}" presName="parentLeftMargin" presStyleLbl="node1" presStyleIdx="0" presStyleCnt="3"/>
      <dgm:spPr/>
    </dgm:pt>
    <dgm:pt modelId="{B2674854-235F-8549-8C48-9332DE213827}" type="pres">
      <dgm:prSet presAssocID="{17E1B993-A6F6-45FA-8B96-26FDD205D0A9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3E47DACF-0258-984F-9305-0934C0878ED0}" type="pres">
      <dgm:prSet presAssocID="{17E1B993-A6F6-45FA-8B96-26FDD205D0A9}" presName="negativeSpace" presStyleCnt="0"/>
      <dgm:spPr/>
    </dgm:pt>
    <dgm:pt modelId="{3AF87211-E86A-0744-95E3-8A6FAAEAD6D8}" type="pres">
      <dgm:prSet presAssocID="{17E1B993-A6F6-45FA-8B96-26FDD205D0A9}" presName="childText" presStyleLbl="conFgAcc1" presStyleIdx="1" presStyleCnt="3">
        <dgm:presLayoutVars>
          <dgm:bulletEnabled val="1"/>
        </dgm:presLayoutVars>
      </dgm:prSet>
      <dgm:spPr/>
    </dgm:pt>
    <dgm:pt modelId="{92E01101-AF09-9640-BBB7-529479FCBA55}" type="pres">
      <dgm:prSet presAssocID="{3D7FE6AB-A47E-4774-8177-34E570037BDC}" presName="spaceBetweenRectangles" presStyleCnt="0"/>
      <dgm:spPr/>
    </dgm:pt>
    <dgm:pt modelId="{26823744-66B8-9E4D-AB9C-E4C3D36654CA}" type="pres">
      <dgm:prSet presAssocID="{AC9EC2FE-AC49-4279-A97F-817262E73CDA}" presName="parentLin" presStyleCnt="0"/>
      <dgm:spPr/>
    </dgm:pt>
    <dgm:pt modelId="{07265080-86E5-9D4C-8175-A5A89EB53433}" type="pres">
      <dgm:prSet presAssocID="{AC9EC2FE-AC49-4279-A97F-817262E73CDA}" presName="parentLeftMargin" presStyleLbl="node1" presStyleIdx="1" presStyleCnt="3"/>
      <dgm:spPr/>
    </dgm:pt>
    <dgm:pt modelId="{1528169B-D5DC-3548-8836-02BFA4005ECF}" type="pres">
      <dgm:prSet presAssocID="{AC9EC2FE-AC49-4279-A97F-817262E73CDA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B740062F-5BD6-6D48-A2DB-B55719132F46}" type="pres">
      <dgm:prSet presAssocID="{AC9EC2FE-AC49-4279-A97F-817262E73CDA}" presName="negativeSpace" presStyleCnt="0"/>
      <dgm:spPr/>
    </dgm:pt>
    <dgm:pt modelId="{7335DB65-2306-6545-BA74-2B0518DBEDE0}" type="pres">
      <dgm:prSet presAssocID="{AC9EC2FE-AC49-4279-A97F-817262E73CDA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76A59907-11C8-4B66-B3ED-8703E62CB3FB}" srcId="{AC9EC2FE-AC49-4279-A97F-817262E73CDA}" destId="{F07F5B88-9E6B-4335-AC14-ACDD1E247655}" srcOrd="2" destOrd="0" parTransId="{8A691708-7753-474C-989C-93578FA706B0}" sibTransId="{0D0480BB-03E3-40B1-B6C1-A09E5ED1FCBB}"/>
    <dgm:cxn modelId="{81F47111-3E18-AE4C-8C81-83E6A589EFA3}" type="presOf" srcId="{F07F5B88-9E6B-4335-AC14-ACDD1E247655}" destId="{7335DB65-2306-6545-BA74-2B0518DBEDE0}" srcOrd="0" destOrd="2" presId="urn:microsoft.com/office/officeart/2005/8/layout/list1"/>
    <dgm:cxn modelId="{03D01C18-7DF9-40D0-9557-A005B28F09C6}" srcId="{AC9EC2FE-AC49-4279-A97F-817262E73CDA}" destId="{01888734-B3E3-4CE0-9B36-199F8203D2F0}" srcOrd="1" destOrd="0" parTransId="{397B6ED2-86CF-491C-9185-3D8616D73A69}" sibTransId="{11B5A708-0C79-4BD6-83D7-D1525CBD7086}"/>
    <dgm:cxn modelId="{886B0329-589B-5C44-9C3A-76747F3B50C1}" type="presOf" srcId="{DB534BC5-EBC7-402E-8DB0-2972C2671B92}" destId="{E05E1F67-62E9-4745-849D-B4A627A3F686}" srcOrd="0" destOrd="0" presId="urn:microsoft.com/office/officeart/2005/8/layout/list1"/>
    <dgm:cxn modelId="{7C67952B-94CF-42CB-BE17-0507053F0312}" srcId="{17E1B993-A6F6-45FA-8B96-26FDD205D0A9}" destId="{798D15C1-C659-4193-83E6-CB5E25C5F41A}" srcOrd="0" destOrd="0" parTransId="{1E300D68-F651-4AD6-BACE-535F47ED4A7A}" sibTransId="{BD021A89-F008-4391-AFC7-881A2E7AB676}"/>
    <dgm:cxn modelId="{494E342F-9843-4025-9AEB-DBD1C2149ABF}" srcId="{172FF537-E2B8-4E36-BA2F-60B92E7FDEAD}" destId="{39AD2830-F078-4E22-B13B-6C4F5C43DFA7}" srcOrd="0" destOrd="0" parTransId="{46E69DF3-1C23-465C-9126-719EA79FAE24}" sibTransId="{17D40523-1B0E-4961-BF64-20D9DE8F59CB}"/>
    <dgm:cxn modelId="{E804FA45-EA9A-B447-A3A2-E20702B3C536}" type="presOf" srcId="{FA4DF903-24E6-4915-86F6-5A3A81B35403}" destId="{7335DB65-2306-6545-BA74-2B0518DBEDE0}" srcOrd="0" destOrd="0" presId="urn:microsoft.com/office/officeart/2005/8/layout/list1"/>
    <dgm:cxn modelId="{6E8FDF4B-2318-FC4F-BA98-32C76E5EF7EE}" type="presOf" srcId="{AC9EC2FE-AC49-4279-A97F-817262E73CDA}" destId="{1528169B-D5DC-3548-8836-02BFA4005ECF}" srcOrd="1" destOrd="0" presId="urn:microsoft.com/office/officeart/2005/8/layout/list1"/>
    <dgm:cxn modelId="{1E090A4F-BCFE-314E-B349-52C8557F445D}" type="presOf" srcId="{17E1B993-A6F6-45FA-8B96-26FDD205D0A9}" destId="{B2674854-235F-8549-8C48-9332DE213827}" srcOrd="1" destOrd="0" presId="urn:microsoft.com/office/officeart/2005/8/layout/list1"/>
    <dgm:cxn modelId="{0414995A-F6B9-4437-A1A4-3851A982C485}" srcId="{172FF537-E2B8-4E36-BA2F-60B92E7FDEAD}" destId="{AC9EC2FE-AC49-4279-A97F-817262E73CDA}" srcOrd="2" destOrd="0" parTransId="{A97F5968-C3E5-4304-875B-7B3C5F71D715}" sibTransId="{E1EEA286-F36B-4A20-84CA-16E9A1C48F4D}"/>
    <dgm:cxn modelId="{133B2C5B-5C3F-5C4E-8C70-E950B1DC7B4B}" type="presOf" srcId="{66DBA07A-7C7E-431F-A0B6-901EDF94517A}" destId="{E05E1F67-62E9-4745-849D-B4A627A3F686}" srcOrd="0" destOrd="2" presId="urn:microsoft.com/office/officeart/2005/8/layout/list1"/>
    <dgm:cxn modelId="{7FA5A466-050C-4701-9C7B-73CEFDCC8B84}" srcId="{172FF537-E2B8-4E36-BA2F-60B92E7FDEAD}" destId="{17E1B993-A6F6-45FA-8B96-26FDD205D0A9}" srcOrd="1" destOrd="0" parTransId="{0E9B1E64-ADA1-440E-A5B4-2D8691A75BAE}" sibTransId="{3D7FE6AB-A47E-4774-8177-34E570037BDC}"/>
    <dgm:cxn modelId="{36FDD668-3080-461F-BDB5-05D19637B836}" srcId="{39AD2830-F078-4E22-B13B-6C4F5C43DFA7}" destId="{DB534BC5-EBC7-402E-8DB0-2972C2671B92}" srcOrd="0" destOrd="0" parTransId="{8471AD6E-F3A5-49F7-B6F5-D8192148E52F}" sibTransId="{636EB20F-9712-4977-9B48-380DEDD21891}"/>
    <dgm:cxn modelId="{C0B56569-D3D5-4540-B8DC-229D396DB236}" type="presOf" srcId="{01888734-B3E3-4CE0-9B36-199F8203D2F0}" destId="{7335DB65-2306-6545-BA74-2B0518DBEDE0}" srcOrd="0" destOrd="1" presId="urn:microsoft.com/office/officeart/2005/8/layout/list1"/>
    <dgm:cxn modelId="{60833970-FCA3-9E41-B87E-76263029F8E2}" type="presOf" srcId="{798D15C1-C659-4193-83E6-CB5E25C5F41A}" destId="{3AF87211-E86A-0744-95E3-8A6FAAEAD6D8}" srcOrd="0" destOrd="0" presId="urn:microsoft.com/office/officeart/2005/8/layout/list1"/>
    <dgm:cxn modelId="{C0DD8589-65E1-9C43-BEEA-DC8B19E8ABC0}" type="presOf" srcId="{EF6FCAAC-964C-41B2-80E3-9308123B8759}" destId="{E05E1F67-62E9-4745-849D-B4A627A3F686}" srcOrd="0" destOrd="1" presId="urn:microsoft.com/office/officeart/2005/8/layout/list1"/>
    <dgm:cxn modelId="{583D5490-D014-40D4-B8A3-7F965AE74146}" srcId="{39AD2830-F078-4E22-B13B-6C4F5C43DFA7}" destId="{EF6FCAAC-964C-41B2-80E3-9308123B8759}" srcOrd="1" destOrd="0" parTransId="{CB3703AF-4D3B-41C2-8962-EA39DE7A20B3}" sibTransId="{6AC26E25-1523-4892-A3AB-B09056D06F74}"/>
    <dgm:cxn modelId="{F0565494-D9AB-A54E-AC47-521894DE69F1}" type="presOf" srcId="{39AD2830-F078-4E22-B13B-6C4F5C43DFA7}" destId="{42A052A9-69EA-E345-9B7E-33D4E7C0DC98}" srcOrd="1" destOrd="0" presId="urn:microsoft.com/office/officeart/2005/8/layout/list1"/>
    <dgm:cxn modelId="{7CE27E95-8A8C-C24D-904E-580DEC7FB0CA}" type="presOf" srcId="{BBC7D63B-214B-4CB8-A8AB-F098A4E84F74}" destId="{3AF87211-E86A-0744-95E3-8A6FAAEAD6D8}" srcOrd="0" destOrd="1" presId="urn:microsoft.com/office/officeart/2005/8/layout/list1"/>
    <dgm:cxn modelId="{CCD5DC95-FC86-8243-80FE-CE1779FA04D4}" type="presOf" srcId="{172FF537-E2B8-4E36-BA2F-60B92E7FDEAD}" destId="{B91B1CB0-DD99-E840-97C8-6864B41261EB}" srcOrd="0" destOrd="0" presId="urn:microsoft.com/office/officeart/2005/8/layout/list1"/>
    <dgm:cxn modelId="{5ADCE098-7009-0641-A1DC-DBDAF2DBA7FE}" type="presOf" srcId="{39AD2830-F078-4E22-B13B-6C4F5C43DFA7}" destId="{89F30397-5175-5342-8D64-991796783303}" srcOrd="0" destOrd="0" presId="urn:microsoft.com/office/officeart/2005/8/layout/list1"/>
    <dgm:cxn modelId="{26EB5FA1-CC0F-AE4B-A584-6555C6FDFEA0}" type="presOf" srcId="{AC9EC2FE-AC49-4279-A97F-817262E73CDA}" destId="{07265080-86E5-9D4C-8175-A5A89EB53433}" srcOrd="0" destOrd="0" presId="urn:microsoft.com/office/officeart/2005/8/layout/list1"/>
    <dgm:cxn modelId="{646273A3-070B-45A2-9B84-0CD94413DE2B}" srcId="{17E1B993-A6F6-45FA-8B96-26FDD205D0A9}" destId="{BBC7D63B-214B-4CB8-A8AB-F098A4E84F74}" srcOrd="1" destOrd="0" parTransId="{B30E01BB-9CB7-4846-B21B-242C1B728DE8}" sibTransId="{1D3D86F1-3745-49BE-A70F-3F3066D974AD}"/>
    <dgm:cxn modelId="{883050A6-E66D-48A9-A1FE-041013BD340C}" srcId="{AC9EC2FE-AC49-4279-A97F-817262E73CDA}" destId="{FA4DF903-24E6-4915-86F6-5A3A81B35403}" srcOrd="0" destOrd="0" parTransId="{5FEDD465-E3F1-4FCC-9440-6B9D1490A067}" sibTransId="{310132A6-4270-4165-8C1B-F0C880FB5DFB}"/>
    <dgm:cxn modelId="{DD2526E2-CB1E-5547-A41D-68EE9E9DEA54}" type="presOf" srcId="{17E1B993-A6F6-45FA-8B96-26FDD205D0A9}" destId="{2590529F-BBB2-B145-90CD-BBCA38961462}" srcOrd="0" destOrd="0" presId="urn:microsoft.com/office/officeart/2005/8/layout/list1"/>
    <dgm:cxn modelId="{0E5BE0E2-18D3-7A46-AE98-A97D52793BA4}" type="presOf" srcId="{5A6CC3F7-BFEE-4CCD-87DE-FC5286A7F03C}" destId="{E05E1F67-62E9-4745-849D-B4A627A3F686}" srcOrd="0" destOrd="3" presId="urn:microsoft.com/office/officeart/2005/8/layout/list1"/>
    <dgm:cxn modelId="{AC2040E6-04D3-4CFE-AA7B-4C2EF0EAE8BE}" srcId="{39AD2830-F078-4E22-B13B-6C4F5C43DFA7}" destId="{66DBA07A-7C7E-431F-A0B6-901EDF94517A}" srcOrd="2" destOrd="0" parTransId="{05DDA983-925A-4FEB-96E5-954FD14E54E9}" sibTransId="{1B9421DB-8224-4B1E-AC2C-826B4C82CA3D}"/>
    <dgm:cxn modelId="{75B776E6-E96C-409D-94B2-CDA2C60582AC}" srcId="{39AD2830-F078-4E22-B13B-6C4F5C43DFA7}" destId="{5A6CC3F7-BFEE-4CCD-87DE-FC5286A7F03C}" srcOrd="3" destOrd="0" parTransId="{196A0403-F098-4F87-9D79-B8FBAE1FE28F}" sibTransId="{2EB75AAF-EEF2-4135-83F6-4B5052594B78}"/>
    <dgm:cxn modelId="{BDD88912-2655-744F-8238-1C0CBD7ACD86}" type="presParOf" srcId="{B91B1CB0-DD99-E840-97C8-6864B41261EB}" destId="{2A9C0824-7CC8-3D40-8D5D-D5A3733F3791}" srcOrd="0" destOrd="0" presId="urn:microsoft.com/office/officeart/2005/8/layout/list1"/>
    <dgm:cxn modelId="{A8D53B74-C34A-C742-99E4-68B5927497DC}" type="presParOf" srcId="{2A9C0824-7CC8-3D40-8D5D-D5A3733F3791}" destId="{89F30397-5175-5342-8D64-991796783303}" srcOrd="0" destOrd="0" presId="urn:microsoft.com/office/officeart/2005/8/layout/list1"/>
    <dgm:cxn modelId="{07E138BE-B1D9-5A4C-BBD5-FCFE53803DA2}" type="presParOf" srcId="{2A9C0824-7CC8-3D40-8D5D-D5A3733F3791}" destId="{42A052A9-69EA-E345-9B7E-33D4E7C0DC98}" srcOrd="1" destOrd="0" presId="urn:microsoft.com/office/officeart/2005/8/layout/list1"/>
    <dgm:cxn modelId="{A7301184-E4B6-0543-8E50-73D6D31A3AD8}" type="presParOf" srcId="{B91B1CB0-DD99-E840-97C8-6864B41261EB}" destId="{04B2CF60-6E89-634E-8D3A-9EC9A4FC8FD8}" srcOrd="1" destOrd="0" presId="urn:microsoft.com/office/officeart/2005/8/layout/list1"/>
    <dgm:cxn modelId="{BE0BB252-0056-AD42-9824-B23DA703F7C7}" type="presParOf" srcId="{B91B1CB0-DD99-E840-97C8-6864B41261EB}" destId="{E05E1F67-62E9-4745-849D-B4A627A3F686}" srcOrd="2" destOrd="0" presId="urn:microsoft.com/office/officeart/2005/8/layout/list1"/>
    <dgm:cxn modelId="{28E17CFA-DD5B-EC47-9071-801655C27440}" type="presParOf" srcId="{B91B1CB0-DD99-E840-97C8-6864B41261EB}" destId="{BD4883CD-FF6F-2F42-B36A-F8941F872087}" srcOrd="3" destOrd="0" presId="urn:microsoft.com/office/officeart/2005/8/layout/list1"/>
    <dgm:cxn modelId="{F7C515EC-A3AE-4D46-9124-F662ADC33D7F}" type="presParOf" srcId="{B91B1CB0-DD99-E840-97C8-6864B41261EB}" destId="{4E79AC4F-C024-A14D-A444-B895E5D48339}" srcOrd="4" destOrd="0" presId="urn:microsoft.com/office/officeart/2005/8/layout/list1"/>
    <dgm:cxn modelId="{DE014016-7C87-7D4B-816E-9C278B1D6285}" type="presParOf" srcId="{4E79AC4F-C024-A14D-A444-B895E5D48339}" destId="{2590529F-BBB2-B145-90CD-BBCA38961462}" srcOrd="0" destOrd="0" presId="urn:microsoft.com/office/officeart/2005/8/layout/list1"/>
    <dgm:cxn modelId="{F3F627E2-7F62-D04E-AB83-E83CE615A6D4}" type="presParOf" srcId="{4E79AC4F-C024-A14D-A444-B895E5D48339}" destId="{B2674854-235F-8549-8C48-9332DE213827}" srcOrd="1" destOrd="0" presId="urn:microsoft.com/office/officeart/2005/8/layout/list1"/>
    <dgm:cxn modelId="{90C8561A-25FD-FA4F-BFCA-D0E6A2E6B60F}" type="presParOf" srcId="{B91B1CB0-DD99-E840-97C8-6864B41261EB}" destId="{3E47DACF-0258-984F-9305-0934C0878ED0}" srcOrd="5" destOrd="0" presId="urn:microsoft.com/office/officeart/2005/8/layout/list1"/>
    <dgm:cxn modelId="{415D3A1D-A4F3-3B4F-A13F-CEDC7CD809E6}" type="presParOf" srcId="{B91B1CB0-DD99-E840-97C8-6864B41261EB}" destId="{3AF87211-E86A-0744-95E3-8A6FAAEAD6D8}" srcOrd="6" destOrd="0" presId="urn:microsoft.com/office/officeart/2005/8/layout/list1"/>
    <dgm:cxn modelId="{620CBFC4-5F8B-824C-B706-BA5B0D2192A5}" type="presParOf" srcId="{B91B1CB0-DD99-E840-97C8-6864B41261EB}" destId="{92E01101-AF09-9640-BBB7-529479FCBA55}" srcOrd="7" destOrd="0" presId="urn:microsoft.com/office/officeart/2005/8/layout/list1"/>
    <dgm:cxn modelId="{6DDDE9E8-FDBB-1C4C-8BB3-3A67DE6471F9}" type="presParOf" srcId="{B91B1CB0-DD99-E840-97C8-6864B41261EB}" destId="{26823744-66B8-9E4D-AB9C-E4C3D36654CA}" srcOrd="8" destOrd="0" presId="urn:microsoft.com/office/officeart/2005/8/layout/list1"/>
    <dgm:cxn modelId="{70EA605D-9293-C34A-ADDD-2884E62D4887}" type="presParOf" srcId="{26823744-66B8-9E4D-AB9C-E4C3D36654CA}" destId="{07265080-86E5-9D4C-8175-A5A89EB53433}" srcOrd="0" destOrd="0" presId="urn:microsoft.com/office/officeart/2005/8/layout/list1"/>
    <dgm:cxn modelId="{43CFB455-BB5E-DD45-893D-5E8F54A05DB0}" type="presParOf" srcId="{26823744-66B8-9E4D-AB9C-E4C3D36654CA}" destId="{1528169B-D5DC-3548-8836-02BFA4005ECF}" srcOrd="1" destOrd="0" presId="urn:microsoft.com/office/officeart/2005/8/layout/list1"/>
    <dgm:cxn modelId="{9450E91B-57C3-E24B-9548-C8BF602E6D40}" type="presParOf" srcId="{B91B1CB0-DD99-E840-97C8-6864B41261EB}" destId="{B740062F-5BD6-6D48-A2DB-B55719132F46}" srcOrd="9" destOrd="0" presId="urn:microsoft.com/office/officeart/2005/8/layout/list1"/>
    <dgm:cxn modelId="{1F98FB46-95EE-FB4A-B993-1DB0B35C873A}" type="presParOf" srcId="{B91B1CB0-DD99-E840-97C8-6864B41261EB}" destId="{7335DB65-2306-6545-BA74-2B0518DBEDE0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72FF537-E2B8-4E36-BA2F-60B92E7FDEAD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9AD2830-F078-4E22-B13B-6C4F5C43DFA7}">
      <dgm:prSet/>
      <dgm:spPr/>
      <dgm:t>
        <a:bodyPr/>
        <a:lstStyle/>
        <a:p>
          <a:r>
            <a:rPr lang="en-GB" dirty="0"/>
            <a:t>Processes that Support Clean Code</a:t>
          </a:r>
          <a:endParaRPr lang="en-US" dirty="0"/>
        </a:p>
      </dgm:t>
    </dgm:pt>
    <dgm:pt modelId="{46E69DF3-1C23-465C-9126-719EA79FAE24}" type="parTrans" cxnId="{494E342F-9843-4025-9AEB-DBD1C2149ABF}">
      <dgm:prSet/>
      <dgm:spPr/>
      <dgm:t>
        <a:bodyPr/>
        <a:lstStyle/>
        <a:p>
          <a:endParaRPr lang="en-US"/>
        </a:p>
      </dgm:t>
    </dgm:pt>
    <dgm:pt modelId="{17D40523-1B0E-4961-BF64-20D9DE8F59CB}" type="sibTrans" cxnId="{494E342F-9843-4025-9AEB-DBD1C2149ABF}">
      <dgm:prSet/>
      <dgm:spPr/>
      <dgm:t>
        <a:bodyPr/>
        <a:lstStyle/>
        <a:p>
          <a:endParaRPr lang="en-US"/>
        </a:p>
      </dgm:t>
    </dgm:pt>
    <dgm:pt modelId="{DB534BC5-EBC7-402E-8DB0-2972C2671B92}">
      <dgm:prSet/>
      <dgm:spPr/>
      <dgm:t>
        <a:bodyPr/>
        <a:lstStyle/>
        <a:p>
          <a:r>
            <a:rPr lang="en-GB"/>
            <a:t>Living Documentation (review it and make sure it is up to date)</a:t>
          </a:r>
          <a:endParaRPr lang="en-US" dirty="0"/>
        </a:p>
      </dgm:t>
    </dgm:pt>
    <dgm:pt modelId="{8471AD6E-F3A5-49F7-B6F5-D8192148E52F}" type="parTrans" cxnId="{36FDD668-3080-461F-BDB5-05D19637B836}">
      <dgm:prSet/>
      <dgm:spPr/>
      <dgm:t>
        <a:bodyPr/>
        <a:lstStyle/>
        <a:p>
          <a:endParaRPr lang="en-US"/>
        </a:p>
      </dgm:t>
    </dgm:pt>
    <dgm:pt modelId="{636EB20F-9712-4977-9B48-380DEDD21891}" type="sibTrans" cxnId="{36FDD668-3080-461F-BDB5-05D19637B836}">
      <dgm:prSet/>
      <dgm:spPr/>
      <dgm:t>
        <a:bodyPr/>
        <a:lstStyle/>
        <a:p>
          <a:endParaRPr lang="en-US"/>
        </a:p>
      </dgm:t>
    </dgm:pt>
    <dgm:pt modelId="{17E1B993-A6F6-45FA-8B96-26FDD205D0A9}">
      <dgm:prSet/>
      <dgm:spPr/>
      <dgm:t>
        <a:bodyPr/>
        <a:lstStyle/>
        <a:p>
          <a:r>
            <a:rPr lang="en-GB" dirty="0"/>
            <a:t>Team Structure and Group Responsibility</a:t>
          </a:r>
          <a:endParaRPr lang="en-US" dirty="0"/>
        </a:p>
      </dgm:t>
    </dgm:pt>
    <dgm:pt modelId="{0E9B1E64-ADA1-440E-A5B4-2D8691A75BAE}" type="parTrans" cxnId="{7FA5A466-050C-4701-9C7B-73CEFDCC8B84}">
      <dgm:prSet/>
      <dgm:spPr/>
      <dgm:t>
        <a:bodyPr/>
        <a:lstStyle/>
        <a:p>
          <a:endParaRPr lang="en-US"/>
        </a:p>
      </dgm:t>
    </dgm:pt>
    <dgm:pt modelId="{3D7FE6AB-A47E-4774-8177-34E570037BDC}" type="sibTrans" cxnId="{7FA5A466-050C-4701-9C7B-73CEFDCC8B84}">
      <dgm:prSet/>
      <dgm:spPr/>
      <dgm:t>
        <a:bodyPr/>
        <a:lstStyle/>
        <a:p>
          <a:endParaRPr lang="en-US"/>
        </a:p>
      </dgm:t>
    </dgm:pt>
    <dgm:pt modelId="{798D15C1-C659-4193-83E6-CB5E25C5F41A}">
      <dgm:prSet/>
      <dgm:spPr/>
      <dgm:t>
        <a:bodyPr/>
        <a:lstStyle/>
        <a:p>
          <a:r>
            <a:rPr lang="en-GB" dirty="0"/>
            <a:t>Everybody holds everyone accountable</a:t>
          </a:r>
          <a:endParaRPr lang="en-US" dirty="0"/>
        </a:p>
      </dgm:t>
    </dgm:pt>
    <dgm:pt modelId="{1E300D68-F651-4AD6-BACE-535F47ED4A7A}" type="parTrans" cxnId="{7C67952B-94CF-42CB-BE17-0507053F0312}">
      <dgm:prSet/>
      <dgm:spPr/>
      <dgm:t>
        <a:bodyPr/>
        <a:lstStyle/>
        <a:p>
          <a:endParaRPr lang="en-US"/>
        </a:p>
      </dgm:t>
    </dgm:pt>
    <dgm:pt modelId="{BD021A89-F008-4391-AFC7-881A2E7AB676}" type="sibTrans" cxnId="{7C67952B-94CF-42CB-BE17-0507053F0312}">
      <dgm:prSet/>
      <dgm:spPr/>
      <dgm:t>
        <a:bodyPr/>
        <a:lstStyle/>
        <a:p>
          <a:endParaRPr lang="en-US"/>
        </a:p>
      </dgm:t>
    </dgm:pt>
    <dgm:pt modelId="{86DD8934-2ABF-D84B-85AE-3F6F69451F3D}">
      <dgm:prSet/>
      <dgm:spPr/>
      <dgm:t>
        <a:bodyPr/>
        <a:lstStyle/>
        <a:p>
          <a:r>
            <a:rPr lang="en-GB"/>
            <a:t>Understand business requirements</a:t>
          </a:r>
          <a:endParaRPr lang="en-GB" dirty="0"/>
        </a:p>
      </dgm:t>
    </dgm:pt>
    <dgm:pt modelId="{30C9EC57-4591-4549-911F-227A03B7133B}" type="parTrans" cxnId="{73118424-088B-D245-8871-25B9A56AB886}">
      <dgm:prSet/>
      <dgm:spPr/>
      <dgm:t>
        <a:bodyPr/>
        <a:lstStyle/>
        <a:p>
          <a:endParaRPr lang="en-US"/>
        </a:p>
      </dgm:t>
    </dgm:pt>
    <dgm:pt modelId="{60B1ACC1-9FA3-8744-9EE5-E85688A2C055}" type="sibTrans" cxnId="{73118424-088B-D245-8871-25B9A56AB886}">
      <dgm:prSet/>
      <dgm:spPr/>
      <dgm:t>
        <a:bodyPr/>
        <a:lstStyle/>
        <a:p>
          <a:endParaRPr lang="en-US"/>
        </a:p>
      </dgm:t>
    </dgm:pt>
    <dgm:pt modelId="{26CA697B-6D7B-0B44-ABEF-B7E27287DD34}">
      <dgm:prSet/>
      <dgm:spPr/>
      <dgm:t>
        <a:bodyPr/>
        <a:lstStyle/>
        <a:p>
          <a:r>
            <a:rPr lang="en-GB"/>
            <a:t>Technical Debt Log</a:t>
          </a:r>
          <a:endParaRPr lang="en-GB" dirty="0"/>
        </a:p>
      </dgm:t>
    </dgm:pt>
    <dgm:pt modelId="{497C0804-9F75-2A4B-9EF0-3C100C6F2778}" type="parTrans" cxnId="{A1E3086F-939A-E243-ABD0-C8C854D710C2}">
      <dgm:prSet/>
      <dgm:spPr/>
      <dgm:t>
        <a:bodyPr/>
        <a:lstStyle/>
        <a:p>
          <a:endParaRPr lang="en-US"/>
        </a:p>
      </dgm:t>
    </dgm:pt>
    <dgm:pt modelId="{9CD0082A-D581-174F-BDBC-10B3D6F681EC}" type="sibTrans" cxnId="{A1E3086F-939A-E243-ABD0-C8C854D710C2}">
      <dgm:prSet/>
      <dgm:spPr/>
      <dgm:t>
        <a:bodyPr/>
        <a:lstStyle/>
        <a:p>
          <a:endParaRPr lang="en-US"/>
        </a:p>
      </dgm:t>
    </dgm:pt>
    <dgm:pt modelId="{A9FBD34A-87FC-6345-B95C-86AEBA491047}">
      <dgm:prSet/>
      <dgm:spPr/>
      <dgm:t>
        <a:bodyPr/>
        <a:lstStyle/>
        <a:p>
          <a:r>
            <a:rPr lang="en-GB"/>
            <a:t>Refactor regularly	</a:t>
          </a:r>
          <a:endParaRPr lang="en-GB" dirty="0"/>
        </a:p>
      </dgm:t>
    </dgm:pt>
    <dgm:pt modelId="{E33A9A87-1CE4-1044-AE24-EE8BC57D884B}" type="parTrans" cxnId="{C6D42DDA-6C97-D546-8BA9-084F57D02544}">
      <dgm:prSet/>
      <dgm:spPr/>
      <dgm:t>
        <a:bodyPr/>
        <a:lstStyle/>
        <a:p>
          <a:endParaRPr lang="en-US"/>
        </a:p>
      </dgm:t>
    </dgm:pt>
    <dgm:pt modelId="{7C67DC86-9F20-3E42-B622-DF117E9C6C93}" type="sibTrans" cxnId="{C6D42DDA-6C97-D546-8BA9-084F57D02544}">
      <dgm:prSet/>
      <dgm:spPr/>
      <dgm:t>
        <a:bodyPr/>
        <a:lstStyle/>
        <a:p>
          <a:endParaRPr lang="en-US"/>
        </a:p>
      </dgm:t>
    </dgm:pt>
    <dgm:pt modelId="{9D1197CF-CE2B-4F4D-8831-79E333EA2B69}">
      <dgm:prSet/>
      <dgm:spPr/>
      <dgm:t>
        <a:bodyPr/>
        <a:lstStyle/>
        <a:p>
          <a:r>
            <a:rPr lang="en-GB"/>
            <a:t>Coding Standards</a:t>
          </a:r>
          <a:endParaRPr lang="en-GB" dirty="0"/>
        </a:p>
      </dgm:t>
    </dgm:pt>
    <dgm:pt modelId="{AA3433A2-A2A3-8F47-BD65-75C204F8E4A4}" type="parTrans" cxnId="{72177A01-A152-EF44-9610-6D83FC54B409}">
      <dgm:prSet/>
      <dgm:spPr/>
      <dgm:t>
        <a:bodyPr/>
        <a:lstStyle/>
        <a:p>
          <a:endParaRPr lang="en-US"/>
        </a:p>
      </dgm:t>
    </dgm:pt>
    <dgm:pt modelId="{02722CEA-8796-5C4A-90B0-7FC9CC7B4874}" type="sibTrans" cxnId="{72177A01-A152-EF44-9610-6D83FC54B409}">
      <dgm:prSet/>
      <dgm:spPr/>
      <dgm:t>
        <a:bodyPr/>
        <a:lstStyle/>
        <a:p>
          <a:endParaRPr lang="en-US"/>
        </a:p>
      </dgm:t>
    </dgm:pt>
    <dgm:pt modelId="{43D2E8C7-00F8-6545-BCFF-80F4E431398D}">
      <dgm:prSet/>
      <dgm:spPr/>
      <dgm:t>
        <a:bodyPr/>
        <a:lstStyle/>
        <a:p>
          <a:r>
            <a:rPr lang="en-GB" dirty="0"/>
            <a:t>Code Reviews</a:t>
          </a:r>
        </a:p>
      </dgm:t>
    </dgm:pt>
    <dgm:pt modelId="{12E2142A-B02F-1243-96BE-736B67AD0C1D}" type="parTrans" cxnId="{AC38A49F-9F11-3B4E-AE11-3CCB7172C592}">
      <dgm:prSet/>
      <dgm:spPr/>
      <dgm:t>
        <a:bodyPr/>
        <a:lstStyle/>
        <a:p>
          <a:endParaRPr lang="en-US"/>
        </a:p>
      </dgm:t>
    </dgm:pt>
    <dgm:pt modelId="{85EE2769-6123-3F4F-976F-A54A8BE8EAA0}" type="sibTrans" cxnId="{AC38A49F-9F11-3B4E-AE11-3CCB7172C592}">
      <dgm:prSet/>
      <dgm:spPr/>
      <dgm:t>
        <a:bodyPr/>
        <a:lstStyle/>
        <a:p>
          <a:endParaRPr lang="en-US"/>
        </a:p>
      </dgm:t>
    </dgm:pt>
    <dgm:pt modelId="{B91B1CB0-DD99-E840-97C8-6864B41261EB}" type="pres">
      <dgm:prSet presAssocID="{172FF537-E2B8-4E36-BA2F-60B92E7FDEAD}" presName="linear" presStyleCnt="0">
        <dgm:presLayoutVars>
          <dgm:dir/>
          <dgm:animLvl val="lvl"/>
          <dgm:resizeHandles val="exact"/>
        </dgm:presLayoutVars>
      </dgm:prSet>
      <dgm:spPr/>
    </dgm:pt>
    <dgm:pt modelId="{2A9C0824-7CC8-3D40-8D5D-D5A3733F3791}" type="pres">
      <dgm:prSet presAssocID="{39AD2830-F078-4E22-B13B-6C4F5C43DFA7}" presName="parentLin" presStyleCnt="0"/>
      <dgm:spPr/>
    </dgm:pt>
    <dgm:pt modelId="{89F30397-5175-5342-8D64-991796783303}" type="pres">
      <dgm:prSet presAssocID="{39AD2830-F078-4E22-B13B-6C4F5C43DFA7}" presName="parentLeftMargin" presStyleLbl="node1" presStyleIdx="0" presStyleCnt="2"/>
      <dgm:spPr/>
    </dgm:pt>
    <dgm:pt modelId="{42A052A9-69EA-E345-9B7E-33D4E7C0DC98}" type="pres">
      <dgm:prSet presAssocID="{39AD2830-F078-4E22-B13B-6C4F5C43DFA7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04B2CF60-6E89-634E-8D3A-9EC9A4FC8FD8}" type="pres">
      <dgm:prSet presAssocID="{39AD2830-F078-4E22-B13B-6C4F5C43DFA7}" presName="negativeSpace" presStyleCnt="0"/>
      <dgm:spPr/>
    </dgm:pt>
    <dgm:pt modelId="{E05E1F67-62E9-4745-849D-B4A627A3F686}" type="pres">
      <dgm:prSet presAssocID="{39AD2830-F078-4E22-B13B-6C4F5C43DFA7}" presName="childText" presStyleLbl="conFgAcc1" presStyleIdx="0" presStyleCnt="2">
        <dgm:presLayoutVars>
          <dgm:bulletEnabled val="1"/>
        </dgm:presLayoutVars>
      </dgm:prSet>
      <dgm:spPr/>
    </dgm:pt>
    <dgm:pt modelId="{BD4883CD-FF6F-2F42-B36A-F8941F872087}" type="pres">
      <dgm:prSet presAssocID="{17D40523-1B0E-4961-BF64-20D9DE8F59CB}" presName="spaceBetweenRectangles" presStyleCnt="0"/>
      <dgm:spPr/>
    </dgm:pt>
    <dgm:pt modelId="{4E79AC4F-C024-A14D-A444-B895E5D48339}" type="pres">
      <dgm:prSet presAssocID="{17E1B993-A6F6-45FA-8B96-26FDD205D0A9}" presName="parentLin" presStyleCnt="0"/>
      <dgm:spPr/>
    </dgm:pt>
    <dgm:pt modelId="{2590529F-BBB2-B145-90CD-BBCA38961462}" type="pres">
      <dgm:prSet presAssocID="{17E1B993-A6F6-45FA-8B96-26FDD205D0A9}" presName="parentLeftMargin" presStyleLbl="node1" presStyleIdx="0" presStyleCnt="2"/>
      <dgm:spPr/>
    </dgm:pt>
    <dgm:pt modelId="{B2674854-235F-8549-8C48-9332DE213827}" type="pres">
      <dgm:prSet presAssocID="{17E1B993-A6F6-45FA-8B96-26FDD205D0A9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3E47DACF-0258-984F-9305-0934C0878ED0}" type="pres">
      <dgm:prSet presAssocID="{17E1B993-A6F6-45FA-8B96-26FDD205D0A9}" presName="negativeSpace" presStyleCnt="0"/>
      <dgm:spPr/>
    </dgm:pt>
    <dgm:pt modelId="{3AF87211-E86A-0744-95E3-8A6FAAEAD6D8}" type="pres">
      <dgm:prSet presAssocID="{17E1B993-A6F6-45FA-8B96-26FDD205D0A9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72177A01-A152-EF44-9610-6D83FC54B409}" srcId="{39AD2830-F078-4E22-B13B-6C4F5C43DFA7}" destId="{9D1197CF-CE2B-4F4D-8831-79E333EA2B69}" srcOrd="4" destOrd="0" parTransId="{AA3433A2-A2A3-8F47-BD65-75C204F8E4A4}" sibTransId="{02722CEA-8796-5C4A-90B0-7FC9CC7B4874}"/>
    <dgm:cxn modelId="{E1339B13-D6CA-B641-B706-1BA9E5775262}" type="presOf" srcId="{9D1197CF-CE2B-4F4D-8831-79E333EA2B69}" destId="{E05E1F67-62E9-4745-849D-B4A627A3F686}" srcOrd="0" destOrd="4" presId="urn:microsoft.com/office/officeart/2005/8/layout/list1"/>
    <dgm:cxn modelId="{73118424-088B-D245-8871-25B9A56AB886}" srcId="{39AD2830-F078-4E22-B13B-6C4F5C43DFA7}" destId="{86DD8934-2ABF-D84B-85AE-3F6F69451F3D}" srcOrd="1" destOrd="0" parTransId="{30C9EC57-4591-4549-911F-227A03B7133B}" sibTransId="{60B1ACC1-9FA3-8744-9EE5-E85688A2C055}"/>
    <dgm:cxn modelId="{886B0329-589B-5C44-9C3A-76747F3B50C1}" type="presOf" srcId="{DB534BC5-EBC7-402E-8DB0-2972C2671B92}" destId="{E05E1F67-62E9-4745-849D-B4A627A3F686}" srcOrd="0" destOrd="0" presId="urn:microsoft.com/office/officeart/2005/8/layout/list1"/>
    <dgm:cxn modelId="{7C67952B-94CF-42CB-BE17-0507053F0312}" srcId="{17E1B993-A6F6-45FA-8B96-26FDD205D0A9}" destId="{798D15C1-C659-4193-83E6-CB5E25C5F41A}" srcOrd="0" destOrd="0" parTransId="{1E300D68-F651-4AD6-BACE-535F47ED4A7A}" sibTransId="{BD021A89-F008-4391-AFC7-881A2E7AB676}"/>
    <dgm:cxn modelId="{494E342F-9843-4025-9AEB-DBD1C2149ABF}" srcId="{172FF537-E2B8-4E36-BA2F-60B92E7FDEAD}" destId="{39AD2830-F078-4E22-B13B-6C4F5C43DFA7}" srcOrd="0" destOrd="0" parTransId="{46E69DF3-1C23-465C-9126-719EA79FAE24}" sibTransId="{17D40523-1B0E-4961-BF64-20D9DE8F59CB}"/>
    <dgm:cxn modelId="{60F65B3D-882C-3D4D-B547-026F7FC3CAAF}" type="presOf" srcId="{A9FBD34A-87FC-6345-B95C-86AEBA491047}" destId="{E05E1F67-62E9-4745-849D-B4A627A3F686}" srcOrd="0" destOrd="3" presId="urn:microsoft.com/office/officeart/2005/8/layout/list1"/>
    <dgm:cxn modelId="{1E090A4F-BCFE-314E-B349-52C8557F445D}" type="presOf" srcId="{17E1B993-A6F6-45FA-8B96-26FDD205D0A9}" destId="{B2674854-235F-8549-8C48-9332DE213827}" srcOrd="1" destOrd="0" presId="urn:microsoft.com/office/officeart/2005/8/layout/list1"/>
    <dgm:cxn modelId="{7FA5A466-050C-4701-9C7B-73CEFDCC8B84}" srcId="{172FF537-E2B8-4E36-BA2F-60B92E7FDEAD}" destId="{17E1B993-A6F6-45FA-8B96-26FDD205D0A9}" srcOrd="1" destOrd="0" parTransId="{0E9B1E64-ADA1-440E-A5B4-2D8691A75BAE}" sibTransId="{3D7FE6AB-A47E-4774-8177-34E570037BDC}"/>
    <dgm:cxn modelId="{36FDD668-3080-461F-BDB5-05D19637B836}" srcId="{39AD2830-F078-4E22-B13B-6C4F5C43DFA7}" destId="{DB534BC5-EBC7-402E-8DB0-2972C2671B92}" srcOrd="0" destOrd="0" parTransId="{8471AD6E-F3A5-49F7-B6F5-D8192148E52F}" sibTransId="{636EB20F-9712-4977-9B48-380DEDD21891}"/>
    <dgm:cxn modelId="{A1E3086F-939A-E243-ABD0-C8C854D710C2}" srcId="{39AD2830-F078-4E22-B13B-6C4F5C43DFA7}" destId="{26CA697B-6D7B-0B44-ABEF-B7E27287DD34}" srcOrd="2" destOrd="0" parTransId="{497C0804-9F75-2A4B-9EF0-3C100C6F2778}" sibTransId="{9CD0082A-D581-174F-BDBC-10B3D6F681EC}"/>
    <dgm:cxn modelId="{60833970-FCA3-9E41-B87E-76263029F8E2}" type="presOf" srcId="{798D15C1-C659-4193-83E6-CB5E25C5F41A}" destId="{3AF87211-E86A-0744-95E3-8A6FAAEAD6D8}" srcOrd="0" destOrd="0" presId="urn:microsoft.com/office/officeart/2005/8/layout/list1"/>
    <dgm:cxn modelId="{8194EF91-3FFD-9848-9E51-FEC283EF06DC}" type="presOf" srcId="{43D2E8C7-00F8-6545-BCFF-80F4E431398D}" destId="{E05E1F67-62E9-4745-849D-B4A627A3F686}" srcOrd="0" destOrd="5" presId="urn:microsoft.com/office/officeart/2005/8/layout/list1"/>
    <dgm:cxn modelId="{F0565494-D9AB-A54E-AC47-521894DE69F1}" type="presOf" srcId="{39AD2830-F078-4E22-B13B-6C4F5C43DFA7}" destId="{42A052A9-69EA-E345-9B7E-33D4E7C0DC98}" srcOrd="1" destOrd="0" presId="urn:microsoft.com/office/officeart/2005/8/layout/list1"/>
    <dgm:cxn modelId="{CCD5DC95-FC86-8243-80FE-CE1779FA04D4}" type="presOf" srcId="{172FF537-E2B8-4E36-BA2F-60B92E7FDEAD}" destId="{B91B1CB0-DD99-E840-97C8-6864B41261EB}" srcOrd="0" destOrd="0" presId="urn:microsoft.com/office/officeart/2005/8/layout/list1"/>
    <dgm:cxn modelId="{5ADCE098-7009-0641-A1DC-DBDAF2DBA7FE}" type="presOf" srcId="{39AD2830-F078-4E22-B13B-6C4F5C43DFA7}" destId="{89F30397-5175-5342-8D64-991796783303}" srcOrd="0" destOrd="0" presId="urn:microsoft.com/office/officeart/2005/8/layout/list1"/>
    <dgm:cxn modelId="{AC38A49F-9F11-3B4E-AE11-3CCB7172C592}" srcId="{39AD2830-F078-4E22-B13B-6C4F5C43DFA7}" destId="{43D2E8C7-00F8-6545-BCFF-80F4E431398D}" srcOrd="5" destOrd="0" parTransId="{12E2142A-B02F-1243-96BE-736B67AD0C1D}" sibTransId="{85EE2769-6123-3F4F-976F-A54A8BE8EAA0}"/>
    <dgm:cxn modelId="{C6D42DDA-6C97-D546-8BA9-084F57D02544}" srcId="{39AD2830-F078-4E22-B13B-6C4F5C43DFA7}" destId="{A9FBD34A-87FC-6345-B95C-86AEBA491047}" srcOrd="3" destOrd="0" parTransId="{E33A9A87-1CE4-1044-AE24-EE8BC57D884B}" sibTransId="{7C67DC86-9F20-3E42-B622-DF117E9C6C93}"/>
    <dgm:cxn modelId="{DD2526E2-CB1E-5547-A41D-68EE9E9DEA54}" type="presOf" srcId="{17E1B993-A6F6-45FA-8B96-26FDD205D0A9}" destId="{2590529F-BBB2-B145-90CD-BBCA38961462}" srcOrd="0" destOrd="0" presId="urn:microsoft.com/office/officeart/2005/8/layout/list1"/>
    <dgm:cxn modelId="{7AD0A8E2-4BA6-D543-9933-9568E18C8851}" type="presOf" srcId="{26CA697B-6D7B-0B44-ABEF-B7E27287DD34}" destId="{E05E1F67-62E9-4745-849D-B4A627A3F686}" srcOrd="0" destOrd="2" presId="urn:microsoft.com/office/officeart/2005/8/layout/list1"/>
    <dgm:cxn modelId="{4EBCADF4-E735-584C-930E-467CFFAFC0EF}" type="presOf" srcId="{86DD8934-2ABF-D84B-85AE-3F6F69451F3D}" destId="{E05E1F67-62E9-4745-849D-B4A627A3F686}" srcOrd="0" destOrd="1" presId="urn:microsoft.com/office/officeart/2005/8/layout/list1"/>
    <dgm:cxn modelId="{BDD88912-2655-744F-8238-1C0CBD7ACD86}" type="presParOf" srcId="{B91B1CB0-DD99-E840-97C8-6864B41261EB}" destId="{2A9C0824-7CC8-3D40-8D5D-D5A3733F3791}" srcOrd="0" destOrd="0" presId="urn:microsoft.com/office/officeart/2005/8/layout/list1"/>
    <dgm:cxn modelId="{A8D53B74-C34A-C742-99E4-68B5927497DC}" type="presParOf" srcId="{2A9C0824-7CC8-3D40-8D5D-D5A3733F3791}" destId="{89F30397-5175-5342-8D64-991796783303}" srcOrd="0" destOrd="0" presId="urn:microsoft.com/office/officeart/2005/8/layout/list1"/>
    <dgm:cxn modelId="{07E138BE-B1D9-5A4C-BBD5-FCFE53803DA2}" type="presParOf" srcId="{2A9C0824-7CC8-3D40-8D5D-D5A3733F3791}" destId="{42A052A9-69EA-E345-9B7E-33D4E7C0DC98}" srcOrd="1" destOrd="0" presId="urn:microsoft.com/office/officeart/2005/8/layout/list1"/>
    <dgm:cxn modelId="{A7301184-E4B6-0543-8E50-73D6D31A3AD8}" type="presParOf" srcId="{B91B1CB0-DD99-E840-97C8-6864B41261EB}" destId="{04B2CF60-6E89-634E-8D3A-9EC9A4FC8FD8}" srcOrd="1" destOrd="0" presId="urn:microsoft.com/office/officeart/2005/8/layout/list1"/>
    <dgm:cxn modelId="{BE0BB252-0056-AD42-9824-B23DA703F7C7}" type="presParOf" srcId="{B91B1CB0-DD99-E840-97C8-6864B41261EB}" destId="{E05E1F67-62E9-4745-849D-B4A627A3F686}" srcOrd="2" destOrd="0" presId="urn:microsoft.com/office/officeart/2005/8/layout/list1"/>
    <dgm:cxn modelId="{28E17CFA-DD5B-EC47-9071-801655C27440}" type="presParOf" srcId="{B91B1CB0-DD99-E840-97C8-6864B41261EB}" destId="{BD4883CD-FF6F-2F42-B36A-F8941F872087}" srcOrd="3" destOrd="0" presId="urn:microsoft.com/office/officeart/2005/8/layout/list1"/>
    <dgm:cxn modelId="{F7C515EC-A3AE-4D46-9124-F662ADC33D7F}" type="presParOf" srcId="{B91B1CB0-DD99-E840-97C8-6864B41261EB}" destId="{4E79AC4F-C024-A14D-A444-B895E5D48339}" srcOrd="4" destOrd="0" presId="urn:microsoft.com/office/officeart/2005/8/layout/list1"/>
    <dgm:cxn modelId="{DE014016-7C87-7D4B-816E-9C278B1D6285}" type="presParOf" srcId="{4E79AC4F-C024-A14D-A444-B895E5D48339}" destId="{2590529F-BBB2-B145-90CD-BBCA38961462}" srcOrd="0" destOrd="0" presId="urn:microsoft.com/office/officeart/2005/8/layout/list1"/>
    <dgm:cxn modelId="{F3F627E2-7F62-D04E-AB83-E83CE615A6D4}" type="presParOf" srcId="{4E79AC4F-C024-A14D-A444-B895E5D48339}" destId="{B2674854-235F-8549-8C48-9332DE213827}" srcOrd="1" destOrd="0" presId="urn:microsoft.com/office/officeart/2005/8/layout/list1"/>
    <dgm:cxn modelId="{90C8561A-25FD-FA4F-BFCA-D0E6A2E6B60F}" type="presParOf" srcId="{B91B1CB0-DD99-E840-97C8-6864B41261EB}" destId="{3E47DACF-0258-984F-9305-0934C0878ED0}" srcOrd="5" destOrd="0" presId="urn:microsoft.com/office/officeart/2005/8/layout/list1"/>
    <dgm:cxn modelId="{415D3A1D-A4F3-3B4F-A13F-CEDC7CD809E6}" type="presParOf" srcId="{B91B1CB0-DD99-E840-97C8-6864B41261EB}" destId="{3AF87211-E86A-0744-95E3-8A6FAAEAD6D8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72FF537-E2B8-4E36-BA2F-60B92E7FDEAD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9AD2830-F078-4E22-B13B-6C4F5C43DFA7}">
      <dgm:prSet/>
      <dgm:spPr/>
      <dgm:t>
        <a:bodyPr/>
        <a:lstStyle/>
        <a:p>
          <a:r>
            <a:rPr lang="en-GB" dirty="0"/>
            <a:t>Documentation</a:t>
          </a:r>
          <a:endParaRPr lang="en-US" dirty="0"/>
        </a:p>
      </dgm:t>
    </dgm:pt>
    <dgm:pt modelId="{46E69DF3-1C23-465C-9126-719EA79FAE24}" type="parTrans" cxnId="{494E342F-9843-4025-9AEB-DBD1C2149ABF}">
      <dgm:prSet/>
      <dgm:spPr/>
      <dgm:t>
        <a:bodyPr/>
        <a:lstStyle/>
        <a:p>
          <a:endParaRPr lang="en-US"/>
        </a:p>
      </dgm:t>
    </dgm:pt>
    <dgm:pt modelId="{17D40523-1B0E-4961-BF64-20D9DE8F59CB}" type="sibTrans" cxnId="{494E342F-9843-4025-9AEB-DBD1C2149ABF}">
      <dgm:prSet/>
      <dgm:spPr/>
      <dgm:t>
        <a:bodyPr/>
        <a:lstStyle/>
        <a:p>
          <a:endParaRPr lang="en-US"/>
        </a:p>
      </dgm:t>
    </dgm:pt>
    <dgm:pt modelId="{DB534BC5-EBC7-402E-8DB0-2972C2671B92}">
      <dgm:prSet/>
      <dgm:spPr/>
      <dgm:t>
        <a:bodyPr/>
        <a:lstStyle/>
        <a:p>
          <a:r>
            <a:rPr lang="en-GB"/>
            <a:t>Documentation is not for you</a:t>
          </a:r>
          <a:endParaRPr lang="en-US" dirty="0"/>
        </a:p>
      </dgm:t>
    </dgm:pt>
    <dgm:pt modelId="{8471AD6E-F3A5-49F7-B6F5-D8192148E52F}" type="parTrans" cxnId="{36FDD668-3080-461F-BDB5-05D19637B836}">
      <dgm:prSet/>
      <dgm:spPr/>
      <dgm:t>
        <a:bodyPr/>
        <a:lstStyle/>
        <a:p>
          <a:endParaRPr lang="en-US"/>
        </a:p>
      </dgm:t>
    </dgm:pt>
    <dgm:pt modelId="{636EB20F-9712-4977-9B48-380DEDD21891}" type="sibTrans" cxnId="{36FDD668-3080-461F-BDB5-05D19637B836}">
      <dgm:prSet/>
      <dgm:spPr/>
      <dgm:t>
        <a:bodyPr/>
        <a:lstStyle/>
        <a:p>
          <a:endParaRPr lang="en-US"/>
        </a:p>
      </dgm:t>
    </dgm:pt>
    <dgm:pt modelId="{17E1B993-A6F6-45FA-8B96-26FDD205D0A9}">
      <dgm:prSet/>
      <dgm:spPr/>
      <dgm:t>
        <a:bodyPr/>
        <a:lstStyle/>
        <a:p>
          <a:r>
            <a:rPr lang="en-GB" dirty="0"/>
            <a:t>Does self-documentation code exist?</a:t>
          </a:r>
          <a:endParaRPr lang="en-US" dirty="0"/>
        </a:p>
      </dgm:t>
    </dgm:pt>
    <dgm:pt modelId="{0E9B1E64-ADA1-440E-A5B4-2D8691A75BAE}" type="parTrans" cxnId="{7FA5A466-050C-4701-9C7B-73CEFDCC8B84}">
      <dgm:prSet/>
      <dgm:spPr/>
      <dgm:t>
        <a:bodyPr/>
        <a:lstStyle/>
        <a:p>
          <a:endParaRPr lang="en-US"/>
        </a:p>
      </dgm:t>
    </dgm:pt>
    <dgm:pt modelId="{3D7FE6AB-A47E-4774-8177-34E570037BDC}" type="sibTrans" cxnId="{7FA5A466-050C-4701-9C7B-73CEFDCC8B84}">
      <dgm:prSet/>
      <dgm:spPr/>
      <dgm:t>
        <a:bodyPr/>
        <a:lstStyle/>
        <a:p>
          <a:endParaRPr lang="en-US"/>
        </a:p>
      </dgm:t>
    </dgm:pt>
    <dgm:pt modelId="{798D15C1-C659-4193-83E6-CB5E25C5F41A}">
      <dgm:prSet/>
      <dgm:spPr/>
      <dgm:t>
        <a:bodyPr/>
        <a:lstStyle/>
        <a:p>
          <a:r>
            <a:rPr lang="en-GB" dirty="0"/>
            <a:t>Self-documented code is code that is written in such a way that is easily understood without the need of any documentation</a:t>
          </a:r>
          <a:endParaRPr lang="en-US" dirty="0"/>
        </a:p>
      </dgm:t>
    </dgm:pt>
    <dgm:pt modelId="{1E300D68-F651-4AD6-BACE-535F47ED4A7A}" type="parTrans" cxnId="{7C67952B-94CF-42CB-BE17-0507053F0312}">
      <dgm:prSet/>
      <dgm:spPr/>
      <dgm:t>
        <a:bodyPr/>
        <a:lstStyle/>
        <a:p>
          <a:endParaRPr lang="en-US"/>
        </a:p>
      </dgm:t>
    </dgm:pt>
    <dgm:pt modelId="{BD021A89-F008-4391-AFC7-881A2E7AB676}" type="sibTrans" cxnId="{7C67952B-94CF-42CB-BE17-0507053F0312}">
      <dgm:prSet/>
      <dgm:spPr/>
      <dgm:t>
        <a:bodyPr/>
        <a:lstStyle/>
        <a:p>
          <a:endParaRPr lang="en-US"/>
        </a:p>
      </dgm:t>
    </dgm:pt>
    <dgm:pt modelId="{A4C761A1-32AB-6B46-AAD1-DDF7A3022ADC}">
      <dgm:prSet/>
      <dgm:spPr/>
      <dgm:t>
        <a:bodyPr/>
        <a:lstStyle/>
        <a:p>
          <a:r>
            <a:rPr lang="en-GB"/>
            <a:t>Code documentation is very specific what happens here</a:t>
          </a:r>
          <a:endParaRPr lang="en-GB" dirty="0"/>
        </a:p>
      </dgm:t>
    </dgm:pt>
    <dgm:pt modelId="{3AF1630A-7D9B-2E44-9551-A2B5EA08B8C4}" type="parTrans" cxnId="{AF47BA01-CA78-164D-B210-E5B69507B262}">
      <dgm:prSet/>
      <dgm:spPr/>
      <dgm:t>
        <a:bodyPr/>
        <a:lstStyle/>
        <a:p>
          <a:endParaRPr lang="en-US"/>
        </a:p>
      </dgm:t>
    </dgm:pt>
    <dgm:pt modelId="{98D7FF81-4CF9-D245-A862-F8E78774B8FB}" type="sibTrans" cxnId="{AF47BA01-CA78-164D-B210-E5B69507B262}">
      <dgm:prSet/>
      <dgm:spPr/>
      <dgm:t>
        <a:bodyPr/>
        <a:lstStyle/>
        <a:p>
          <a:endParaRPr lang="en-US"/>
        </a:p>
      </dgm:t>
    </dgm:pt>
    <dgm:pt modelId="{B268EAEB-FA82-AF45-894B-DD08F6576410}">
      <dgm:prSet/>
      <dgm:spPr/>
      <dgm:t>
        <a:bodyPr/>
        <a:lstStyle/>
        <a:p>
          <a:r>
            <a:rPr lang="en-GB" dirty="0"/>
            <a:t>Documentation helps to better understands what is happening in terms of business AND in the code</a:t>
          </a:r>
        </a:p>
      </dgm:t>
    </dgm:pt>
    <dgm:pt modelId="{BF2D2F7D-A6B3-6A43-8257-BA259D0BA0B7}" type="parTrans" cxnId="{77766290-DC99-0240-84FF-6ADDCF36468C}">
      <dgm:prSet/>
      <dgm:spPr/>
      <dgm:t>
        <a:bodyPr/>
        <a:lstStyle/>
        <a:p>
          <a:endParaRPr lang="en-US"/>
        </a:p>
      </dgm:t>
    </dgm:pt>
    <dgm:pt modelId="{A200029F-F760-5B4E-8DAD-FEDB9A202E79}" type="sibTrans" cxnId="{77766290-DC99-0240-84FF-6ADDCF36468C}">
      <dgm:prSet/>
      <dgm:spPr/>
      <dgm:t>
        <a:bodyPr/>
        <a:lstStyle/>
        <a:p>
          <a:endParaRPr lang="en-US"/>
        </a:p>
      </dgm:t>
    </dgm:pt>
    <dgm:pt modelId="{2AAAEAFC-E300-0C41-B20C-C5417C0746D6}">
      <dgm:prSet/>
      <dgm:spPr/>
      <dgm:t>
        <a:bodyPr/>
        <a:lstStyle/>
        <a:p>
          <a:r>
            <a:rPr lang="en-GB" dirty="0"/>
            <a:t>Use automated tool for wikis or documentation</a:t>
          </a:r>
        </a:p>
      </dgm:t>
    </dgm:pt>
    <dgm:pt modelId="{CBF2595F-18FE-3342-BC4C-5D94B1459548}" type="parTrans" cxnId="{9CB0236F-E9AE-BC42-9ABC-DC4A6900218A}">
      <dgm:prSet/>
      <dgm:spPr/>
      <dgm:t>
        <a:bodyPr/>
        <a:lstStyle/>
        <a:p>
          <a:endParaRPr lang="en-US"/>
        </a:p>
      </dgm:t>
    </dgm:pt>
    <dgm:pt modelId="{027CE171-403C-B444-9768-41A08AC5FCCB}" type="sibTrans" cxnId="{9CB0236F-E9AE-BC42-9ABC-DC4A6900218A}">
      <dgm:prSet/>
      <dgm:spPr/>
      <dgm:t>
        <a:bodyPr/>
        <a:lstStyle/>
        <a:p>
          <a:endParaRPr lang="en-US"/>
        </a:p>
      </dgm:t>
    </dgm:pt>
    <dgm:pt modelId="{DA786A8F-A6EA-3340-B6A3-0343ACC9EED2}">
      <dgm:prSet/>
      <dgm:spPr/>
      <dgm:t>
        <a:bodyPr/>
        <a:lstStyle/>
        <a:p>
          <a:r>
            <a:rPr lang="en-GB"/>
            <a:t>Include exception dependencies</a:t>
          </a:r>
          <a:endParaRPr lang="en-GB" dirty="0"/>
        </a:p>
      </dgm:t>
    </dgm:pt>
    <dgm:pt modelId="{07B3DB00-1BD3-C642-A765-6202FA931724}" type="parTrans" cxnId="{A06C13EC-D49E-AC4F-B8A1-9529532352FA}">
      <dgm:prSet/>
      <dgm:spPr/>
      <dgm:t>
        <a:bodyPr/>
        <a:lstStyle/>
        <a:p>
          <a:endParaRPr lang="en-US"/>
        </a:p>
      </dgm:t>
    </dgm:pt>
    <dgm:pt modelId="{BABBB719-603B-284B-9BBC-45B562F007DC}" type="sibTrans" cxnId="{A06C13EC-D49E-AC4F-B8A1-9529532352FA}">
      <dgm:prSet/>
      <dgm:spPr/>
      <dgm:t>
        <a:bodyPr/>
        <a:lstStyle/>
        <a:p>
          <a:endParaRPr lang="en-US"/>
        </a:p>
      </dgm:t>
    </dgm:pt>
    <dgm:pt modelId="{1C8E4CF5-17C9-DC4B-B669-CBA65D3A0FE7}">
      <dgm:prSet/>
      <dgm:spPr/>
      <dgm:t>
        <a:bodyPr/>
        <a:lstStyle/>
        <a:p>
          <a:r>
            <a:rPr lang="en-GB" dirty="0"/>
            <a:t>Especially important when fixes are added</a:t>
          </a:r>
        </a:p>
      </dgm:t>
    </dgm:pt>
    <dgm:pt modelId="{AFE11BE3-040D-D847-A47F-04D86B71F073}" type="parTrans" cxnId="{6B329B0B-BD66-3343-90C8-61DAD8C851B2}">
      <dgm:prSet/>
      <dgm:spPr/>
      <dgm:t>
        <a:bodyPr/>
        <a:lstStyle/>
        <a:p>
          <a:endParaRPr lang="en-US"/>
        </a:p>
      </dgm:t>
    </dgm:pt>
    <dgm:pt modelId="{176F9F86-F9DA-ED4A-969D-E729D0CC967A}" type="sibTrans" cxnId="{6B329B0B-BD66-3343-90C8-61DAD8C851B2}">
      <dgm:prSet/>
      <dgm:spPr/>
      <dgm:t>
        <a:bodyPr/>
        <a:lstStyle/>
        <a:p>
          <a:endParaRPr lang="en-US"/>
        </a:p>
      </dgm:t>
    </dgm:pt>
    <dgm:pt modelId="{89B2FE19-9424-6942-B6A4-5E5365792D39}">
      <dgm:prSet/>
      <dgm:spPr/>
      <dgm:t>
        <a:bodyPr/>
        <a:lstStyle/>
        <a:p>
          <a:r>
            <a:rPr lang="en-GB"/>
            <a:t>Self-documentation assumes that the reader has all the domain knowledge and understands the business and the rest of the system</a:t>
          </a:r>
          <a:endParaRPr lang="en-GB" dirty="0"/>
        </a:p>
      </dgm:t>
    </dgm:pt>
    <dgm:pt modelId="{61713CE3-CC8D-164D-A8A5-C212F262879A}" type="parTrans" cxnId="{B97BBAC8-1908-2C44-9B85-CB9BF7496C9A}">
      <dgm:prSet/>
      <dgm:spPr/>
      <dgm:t>
        <a:bodyPr/>
        <a:lstStyle/>
        <a:p>
          <a:endParaRPr lang="en-US"/>
        </a:p>
      </dgm:t>
    </dgm:pt>
    <dgm:pt modelId="{541EB050-FDD3-F543-990E-806B3581B1F2}" type="sibTrans" cxnId="{B97BBAC8-1908-2C44-9B85-CB9BF7496C9A}">
      <dgm:prSet/>
      <dgm:spPr/>
      <dgm:t>
        <a:bodyPr/>
        <a:lstStyle/>
        <a:p>
          <a:endParaRPr lang="en-US"/>
        </a:p>
      </dgm:t>
    </dgm:pt>
    <dgm:pt modelId="{D8E47993-BC1E-8148-9F01-01FBFD597FDC}">
      <dgm:prSet/>
      <dgm:spPr/>
      <dgm:t>
        <a:bodyPr/>
        <a:lstStyle/>
        <a:p>
          <a:r>
            <a:rPr lang="en-GB" dirty="0"/>
            <a:t>The names and method are all understood and the intention is clear.</a:t>
          </a:r>
        </a:p>
      </dgm:t>
    </dgm:pt>
    <dgm:pt modelId="{EE5822E2-7DB9-D648-8397-79B7BF6CF2B6}" type="parTrans" cxnId="{956C794D-A196-974C-BA1D-ECDD7BA1EB63}">
      <dgm:prSet/>
      <dgm:spPr/>
      <dgm:t>
        <a:bodyPr/>
        <a:lstStyle/>
        <a:p>
          <a:endParaRPr lang="en-US"/>
        </a:p>
      </dgm:t>
    </dgm:pt>
    <dgm:pt modelId="{19D4B173-FC66-D644-A400-FD01E55CB943}" type="sibTrans" cxnId="{956C794D-A196-974C-BA1D-ECDD7BA1EB63}">
      <dgm:prSet/>
      <dgm:spPr/>
      <dgm:t>
        <a:bodyPr/>
        <a:lstStyle/>
        <a:p>
          <a:endParaRPr lang="en-US"/>
        </a:p>
      </dgm:t>
    </dgm:pt>
    <dgm:pt modelId="{B91B1CB0-DD99-E840-97C8-6864B41261EB}" type="pres">
      <dgm:prSet presAssocID="{172FF537-E2B8-4E36-BA2F-60B92E7FDEAD}" presName="linear" presStyleCnt="0">
        <dgm:presLayoutVars>
          <dgm:dir/>
          <dgm:animLvl val="lvl"/>
          <dgm:resizeHandles val="exact"/>
        </dgm:presLayoutVars>
      </dgm:prSet>
      <dgm:spPr/>
    </dgm:pt>
    <dgm:pt modelId="{2A9C0824-7CC8-3D40-8D5D-D5A3733F3791}" type="pres">
      <dgm:prSet presAssocID="{39AD2830-F078-4E22-B13B-6C4F5C43DFA7}" presName="parentLin" presStyleCnt="0"/>
      <dgm:spPr/>
    </dgm:pt>
    <dgm:pt modelId="{89F30397-5175-5342-8D64-991796783303}" type="pres">
      <dgm:prSet presAssocID="{39AD2830-F078-4E22-B13B-6C4F5C43DFA7}" presName="parentLeftMargin" presStyleLbl="node1" presStyleIdx="0" presStyleCnt="2"/>
      <dgm:spPr/>
    </dgm:pt>
    <dgm:pt modelId="{42A052A9-69EA-E345-9B7E-33D4E7C0DC98}" type="pres">
      <dgm:prSet presAssocID="{39AD2830-F078-4E22-B13B-6C4F5C43DFA7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04B2CF60-6E89-634E-8D3A-9EC9A4FC8FD8}" type="pres">
      <dgm:prSet presAssocID="{39AD2830-F078-4E22-B13B-6C4F5C43DFA7}" presName="negativeSpace" presStyleCnt="0"/>
      <dgm:spPr/>
    </dgm:pt>
    <dgm:pt modelId="{E05E1F67-62E9-4745-849D-B4A627A3F686}" type="pres">
      <dgm:prSet presAssocID="{39AD2830-F078-4E22-B13B-6C4F5C43DFA7}" presName="childText" presStyleLbl="conFgAcc1" presStyleIdx="0" presStyleCnt="2" custLinFactY="3391" custLinFactNeighborX="90870" custLinFactNeighborY="100000">
        <dgm:presLayoutVars>
          <dgm:bulletEnabled val="1"/>
        </dgm:presLayoutVars>
      </dgm:prSet>
      <dgm:spPr/>
    </dgm:pt>
    <dgm:pt modelId="{BD4883CD-FF6F-2F42-B36A-F8941F872087}" type="pres">
      <dgm:prSet presAssocID="{17D40523-1B0E-4961-BF64-20D9DE8F59CB}" presName="spaceBetweenRectangles" presStyleCnt="0"/>
      <dgm:spPr/>
    </dgm:pt>
    <dgm:pt modelId="{4E79AC4F-C024-A14D-A444-B895E5D48339}" type="pres">
      <dgm:prSet presAssocID="{17E1B993-A6F6-45FA-8B96-26FDD205D0A9}" presName="parentLin" presStyleCnt="0"/>
      <dgm:spPr/>
    </dgm:pt>
    <dgm:pt modelId="{2590529F-BBB2-B145-90CD-BBCA38961462}" type="pres">
      <dgm:prSet presAssocID="{17E1B993-A6F6-45FA-8B96-26FDD205D0A9}" presName="parentLeftMargin" presStyleLbl="node1" presStyleIdx="0" presStyleCnt="2"/>
      <dgm:spPr/>
    </dgm:pt>
    <dgm:pt modelId="{B2674854-235F-8549-8C48-9332DE213827}" type="pres">
      <dgm:prSet presAssocID="{17E1B993-A6F6-45FA-8B96-26FDD205D0A9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3E47DACF-0258-984F-9305-0934C0878ED0}" type="pres">
      <dgm:prSet presAssocID="{17E1B993-A6F6-45FA-8B96-26FDD205D0A9}" presName="negativeSpace" presStyleCnt="0"/>
      <dgm:spPr/>
    </dgm:pt>
    <dgm:pt modelId="{3AF87211-E86A-0744-95E3-8A6FAAEAD6D8}" type="pres">
      <dgm:prSet presAssocID="{17E1B993-A6F6-45FA-8B96-26FDD205D0A9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AF47BA01-CA78-164D-B210-E5B69507B262}" srcId="{39AD2830-F078-4E22-B13B-6C4F5C43DFA7}" destId="{A4C761A1-32AB-6B46-AAD1-DDF7A3022ADC}" srcOrd="1" destOrd="0" parTransId="{3AF1630A-7D9B-2E44-9551-A2B5EA08B8C4}" sibTransId="{98D7FF81-4CF9-D245-A862-F8E78774B8FB}"/>
    <dgm:cxn modelId="{ADD35405-F31A-0544-B91B-CCA4CB2BABDB}" type="presOf" srcId="{D8E47993-BC1E-8148-9F01-01FBFD597FDC}" destId="{3AF87211-E86A-0744-95E3-8A6FAAEAD6D8}" srcOrd="0" destOrd="2" presId="urn:microsoft.com/office/officeart/2005/8/layout/list1"/>
    <dgm:cxn modelId="{CF5CBE05-15F0-2042-BD29-748FC98ADE1B}" type="presOf" srcId="{2AAAEAFC-E300-0C41-B20C-C5417C0746D6}" destId="{E05E1F67-62E9-4745-849D-B4A627A3F686}" srcOrd="0" destOrd="3" presId="urn:microsoft.com/office/officeart/2005/8/layout/list1"/>
    <dgm:cxn modelId="{6B329B0B-BD66-3343-90C8-61DAD8C851B2}" srcId="{39AD2830-F078-4E22-B13B-6C4F5C43DFA7}" destId="{1C8E4CF5-17C9-DC4B-B669-CBA65D3A0FE7}" srcOrd="5" destOrd="0" parTransId="{AFE11BE3-040D-D847-A47F-04D86B71F073}" sibTransId="{176F9F86-F9DA-ED4A-969D-E729D0CC967A}"/>
    <dgm:cxn modelId="{886B0329-589B-5C44-9C3A-76747F3B50C1}" type="presOf" srcId="{DB534BC5-EBC7-402E-8DB0-2972C2671B92}" destId="{E05E1F67-62E9-4745-849D-B4A627A3F686}" srcOrd="0" destOrd="0" presId="urn:microsoft.com/office/officeart/2005/8/layout/list1"/>
    <dgm:cxn modelId="{7C67952B-94CF-42CB-BE17-0507053F0312}" srcId="{17E1B993-A6F6-45FA-8B96-26FDD205D0A9}" destId="{798D15C1-C659-4193-83E6-CB5E25C5F41A}" srcOrd="0" destOrd="0" parTransId="{1E300D68-F651-4AD6-BACE-535F47ED4A7A}" sibTransId="{BD021A89-F008-4391-AFC7-881A2E7AB676}"/>
    <dgm:cxn modelId="{494E342F-9843-4025-9AEB-DBD1C2149ABF}" srcId="{172FF537-E2B8-4E36-BA2F-60B92E7FDEAD}" destId="{39AD2830-F078-4E22-B13B-6C4F5C43DFA7}" srcOrd="0" destOrd="0" parTransId="{46E69DF3-1C23-465C-9126-719EA79FAE24}" sibTransId="{17D40523-1B0E-4961-BF64-20D9DE8F59CB}"/>
    <dgm:cxn modelId="{A6FD2A35-29A5-F049-A947-BADBB886523E}" type="presOf" srcId="{DA786A8F-A6EA-3340-B6A3-0343ACC9EED2}" destId="{E05E1F67-62E9-4745-849D-B4A627A3F686}" srcOrd="0" destOrd="4" presId="urn:microsoft.com/office/officeart/2005/8/layout/list1"/>
    <dgm:cxn modelId="{2E831746-7D75-1147-81C3-072FD850714F}" type="presOf" srcId="{1C8E4CF5-17C9-DC4B-B669-CBA65D3A0FE7}" destId="{E05E1F67-62E9-4745-849D-B4A627A3F686}" srcOrd="0" destOrd="5" presId="urn:microsoft.com/office/officeart/2005/8/layout/list1"/>
    <dgm:cxn modelId="{956C794D-A196-974C-BA1D-ECDD7BA1EB63}" srcId="{17E1B993-A6F6-45FA-8B96-26FDD205D0A9}" destId="{D8E47993-BC1E-8148-9F01-01FBFD597FDC}" srcOrd="2" destOrd="0" parTransId="{EE5822E2-7DB9-D648-8397-79B7BF6CF2B6}" sibTransId="{19D4B173-FC66-D644-A400-FD01E55CB943}"/>
    <dgm:cxn modelId="{1E090A4F-BCFE-314E-B349-52C8557F445D}" type="presOf" srcId="{17E1B993-A6F6-45FA-8B96-26FDD205D0A9}" destId="{B2674854-235F-8549-8C48-9332DE213827}" srcOrd="1" destOrd="0" presId="urn:microsoft.com/office/officeart/2005/8/layout/list1"/>
    <dgm:cxn modelId="{7FA5A466-050C-4701-9C7B-73CEFDCC8B84}" srcId="{172FF537-E2B8-4E36-BA2F-60B92E7FDEAD}" destId="{17E1B993-A6F6-45FA-8B96-26FDD205D0A9}" srcOrd="1" destOrd="0" parTransId="{0E9B1E64-ADA1-440E-A5B4-2D8691A75BAE}" sibTransId="{3D7FE6AB-A47E-4774-8177-34E570037BDC}"/>
    <dgm:cxn modelId="{36FDD668-3080-461F-BDB5-05D19637B836}" srcId="{39AD2830-F078-4E22-B13B-6C4F5C43DFA7}" destId="{DB534BC5-EBC7-402E-8DB0-2972C2671B92}" srcOrd="0" destOrd="0" parTransId="{8471AD6E-F3A5-49F7-B6F5-D8192148E52F}" sibTransId="{636EB20F-9712-4977-9B48-380DEDD21891}"/>
    <dgm:cxn modelId="{5505946E-5322-9B4A-BC3B-9351DB8B30BC}" type="presOf" srcId="{B268EAEB-FA82-AF45-894B-DD08F6576410}" destId="{E05E1F67-62E9-4745-849D-B4A627A3F686}" srcOrd="0" destOrd="2" presId="urn:microsoft.com/office/officeart/2005/8/layout/list1"/>
    <dgm:cxn modelId="{9CB0236F-E9AE-BC42-9ABC-DC4A6900218A}" srcId="{39AD2830-F078-4E22-B13B-6C4F5C43DFA7}" destId="{2AAAEAFC-E300-0C41-B20C-C5417C0746D6}" srcOrd="3" destOrd="0" parTransId="{CBF2595F-18FE-3342-BC4C-5D94B1459548}" sibTransId="{027CE171-403C-B444-9768-41A08AC5FCCB}"/>
    <dgm:cxn modelId="{60833970-FCA3-9E41-B87E-76263029F8E2}" type="presOf" srcId="{798D15C1-C659-4193-83E6-CB5E25C5F41A}" destId="{3AF87211-E86A-0744-95E3-8A6FAAEAD6D8}" srcOrd="0" destOrd="0" presId="urn:microsoft.com/office/officeart/2005/8/layout/list1"/>
    <dgm:cxn modelId="{77766290-DC99-0240-84FF-6ADDCF36468C}" srcId="{39AD2830-F078-4E22-B13B-6C4F5C43DFA7}" destId="{B268EAEB-FA82-AF45-894B-DD08F6576410}" srcOrd="2" destOrd="0" parTransId="{BF2D2F7D-A6B3-6A43-8257-BA259D0BA0B7}" sibTransId="{A200029F-F760-5B4E-8DAD-FEDB9A202E79}"/>
    <dgm:cxn modelId="{F0565494-D9AB-A54E-AC47-521894DE69F1}" type="presOf" srcId="{39AD2830-F078-4E22-B13B-6C4F5C43DFA7}" destId="{42A052A9-69EA-E345-9B7E-33D4E7C0DC98}" srcOrd="1" destOrd="0" presId="urn:microsoft.com/office/officeart/2005/8/layout/list1"/>
    <dgm:cxn modelId="{CCD5DC95-FC86-8243-80FE-CE1779FA04D4}" type="presOf" srcId="{172FF537-E2B8-4E36-BA2F-60B92E7FDEAD}" destId="{B91B1CB0-DD99-E840-97C8-6864B41261EB}" srcOrd="0" destOrd="0" presId="urn:microsoft.com/office/officeart/2005/8/layout/list1"/>
    <dgm:cxn modelId="{5ADCE098-7009-0641-A1DC-DBDAF2DBA7FE}" type="presOf" srcId="{39AD2830-F078-4E22-B13B-6C4F5C43DFA7}" destId="{89F30397-5175-5342-8D64-991796783303}" srcOrd="0" destOrd="0" presId="urn:microsoft.com/office/officeart/2005/8/layout/list1"/>
    <dgm:cxn modelId="{07C339A7-7320-7B46-9BE5-E19CA83FC9DA}" type="presOf" srcId="{89B2FE19-9424-6942-B6A4-5E5365792D39}" destId="{3AF87211-E86A-0744-95E3-8A6FAAEAD6D8}" srcOrd="0" destOrd="1" presId="urn:microsoft.com/office/officeart/2005/8/layout/list1"/>
    <dgm:cxn modelId="{B97BBAC8-1908-2C44-9B85-CB9BF7496C9A}" srcId="{17E1B993-A6F6-45FA-8B96-26FDD205D0A9}" destId="{89B2FE19-9424-6942-B6A4-5E5365792D39}" srcOrd="1" destOrd="0" parTransId="{61713CE3-CC8D-164D-A8A5-C212F262879A}" sibTransId="{541EB050-FDD3-F543-990E-806B3581B1F2}"/>
    <dgm:cxn modelId="{DD2526E2-CB1E-5547-A41D-68EE9E9DEA54}" type="presOf" srcId="{17E1B993-A6F6-45FA-8B96-26FDD205D0A9}" destId="{2590529F-BBB2-B145-90CD-BBCA38961462}" srcOrd="0" destOrd="0" presId="urn:microsoft.com/office/officeart/2005/8/layout/list1"/>
    <dgm:cxn modelId="{A06C13EC-D49E-AC4F-B8A1-9529532352FA}" srcId="{39AD2830-F078-4E22-B13B-6C4F5C43DFA7}" destId="{DA786A8F-A6EA-3340-B6A3-0343ACC9EED2}" srcOrd="4" destOrd="0" parTransId="{07B3DB00-1BD3-C642-A765-6202FA931724}" sibTransId="{BABBB719-603B-284B-9BBC-45B562F007DC}"/>
    <dgm:cxn modelId="{F6F97BF7-D027-2B49-A8B0-4B9221D66F56}" type="presOf" srcId="{A4C761A1-32AB-6B46-AAD1-DDF7A3022ADC}" destId="{E05E1F67-62E9-4745-849D-B4A627A3F686}" srcOrd="0" destOrd="1" presId="urn:microsoft.com/office/officeart/2005/8/layout/list1"/>
    <dgm:cxn modelId="{BDD88912-2655-744F-8238-1C0CBD7ACD86}" type="presParOf" srcId="{B91B1CB0-DD99-E840-97C8-6864B41261EB}" destId="{2A9C0824-7CC8-3D40-8D5D-D5A3733F3791}" srcOrd="0" destOrd="0" presId="urn:microsoft.com/office/officeart/2005/8/layout/list1"/>
    <dgm:cxn modelId="{A8D53B74-C34A-C742-99E4-68B5927497DC}" type="presParOf" srcId="{2A9C0824-7CC8-3D40-8D5D-D5A3733F3791}" destId="{89F30397-5175-5342-8D64-991796783303}" srcOrd="0" destOrd="0" presId="urn:microsoft.com/office/officeart/2005/8/layout/list1"/>
    <dgm:cxn modelId="{07E138BE-B1D9-5A4C-BBD5-FCFE53803DA2}" type="presParOf" srcId="{2A9C0824-7CC8-3D40-8D5D-D5A3733F3791}" destId="{42A052A9-69EA-E345-9B7E-33D4E7C0DC98}" srcOrd="1" destOrd="0" presId="urn:microsoft.com/office/officeart/2005/8/layout/list1"/>
    <dgm:cxn modelId="{A7301184-E4B6-0543-8E50-73D6D31A3AD8}" type="presParOf" srcId="{B91B1CB0-DD99-E840-97C8-6864B41261EB}" destId="{04B2CF60-6E89-634E-8D3A-9EC9A4FC8FD8}" srcOrd="1" destOrd="0" presId="urn:microsoft.com/office/officeart/2005/8/layout/list1"/>
    <dgm:cxn modelId="{BE0BB252-0056-AD42-9824-B23DA703F7C7}" type="presParOf" srcId="{B91B1CB0-DD99-E840-97C8-6864B41261EB}" destId="{E05E1F67-62E9-4745-849D-B4A627A3F686}" srcOrd="2" destOrd="0" presId="urn:microsoft.com/office/officeart/2005/8/layout/list1"/>
    <dgm:cxn modelId="{28E17CFA-DD5B-EC47-9071-801655C27440}" type="presParOf" srcId="{B91B1CB0-DD99-E840-97C8-6864B41261EB}" destId="{BD4883CD-FF6F-2F42-B36A-F8941F872087}" srcOrd="3" destOrd="0" presId="urn:microsoft.com/office/officeart/2005/8/layout/list1"/>
    <dgm:cxn modelId="{F7C515EC-A3AE-4D46-9124-F662ADC33D7F}" type="presParOf" srcId="{B91B1CB0-DD99-E840-97C8-6864B41261EB}" destId="{4E79AC4F-C024-A14D-A444-B895E5D48339}" srcOrd="4" destOrd="0" presId="urn:microsoft.com/office/officeart/2005/8/layout/list1"/>
    <dgm:cxn modelId="{DE014016-7C87-7D4B-816E-9C278B1D6285}" type="presParOf" srcId="{4E79AC4F-C024-A14D-A444-B895E5D48339}" destId="{2590529F-BBB2-B145-90CD-BBCA38961462}" srcOrd="0" destOrd="0" presId="urn:microsoft.com/office/officeart/2005/8/layout/list1"/>
    <dgm:cxn modelId="{F3F627E2-7F62-D04E-AB83-E83CE615A6D4}" type="presParOf" srcId="{4E79AC4F-C024-A14D-A444-B895E5D48339}" destId="{B2674854-235F-8549-8C48-9332DE213827}" srcOrd="1" destOrd="0" presId="urn:microsoft.com/office/officeart/2005/8/layout/list1"/>
    <dgm:cxn modelId="{90C8561A-25FD-FA4F-BFCA-D0E6A2E6B60F}" type="presParOf" srcId="{B91B1CB0-DD99-E840-97C8-6864B41261EB}" destId="{3E47DACF-0258-984F-9305-0934C0878ED0}" srcOrd="5" destOrd="0" presId="urn:microsoft.com/office/officeart/2005/8/layout/list1"/>
    <dgm:cxn modelId="{415D3A1D-A4F3-3B4F-A13F-CEDC7CD809E6}" type="presParOf" srcId="{B91B1CB0-DD99-E840-97C8-6864B41261EB}" destId="{3AF87211-E86A-0744-95E3-8A6FAAEAD6D8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173922A-04D8-4A2F-A06A-E04304B112BD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A628D00-2968-4F18-B919-842065F224C0}">
      <dgm:prSet/>
      <dgm:spPr/>
      <dgm:t>
        <a:bodyPr/>
        <a:lstStyle/>
        <a:p>
          <a:r>
            <a:rPr lang="en-GB" b="1" u="none" dirty="0"/>
            <a:t>Small Steps</a:t>
          </a:r>
          <a:endParaRPr lang="en-US" b="1" u="none" dirty="0"/>
        </a:p>
      </dgm:t>
    </dgm:pt>
    <dgm:pt modelId="{AADC0F5C-AE0E-4900-B0B7-C3870CB05CB4}" type="parTrans" cxnId="{5F928208-1080-4391-A2A4-5F9EBEA1D037}">
      <dgm:prSet/>
      <dgm:spPr/>
      <dgm:t>
        <a:bodyPr/>
        <a:lstStyle/>
        <a:p>
          <a:endParaRPr lang="en-US"/>
        </a:p>
      </dgm:t>
    </dgm:pt>
    <dgm:pt modelId="{21173BE8-741D-4632-9DA4-0C2ECF2F4E7C}" type="sibTrans" cxnId="{5F928208-1080-4391-A2A4-5F9EBEA1D037}">
      <dgm:prSet/>
      <dgm:spPr/>
      <dgm:t>
        <a:bodyPr/>
        <a:lstStyle/>
        <a:p>
          <a:endParaRPr lang="en-US"/>
        </a:p>
      </dgm:t>
    </dgm:pt>
    <dgm:pt modelId="{72ABCF41-9F96-40D0-9CD8-001623550C01}">
      <dgm:prSet/>
      <dgm:spPr/>
      <dgm:t>
        <a:bodyPr/>
        <a:lstStyle/>
        <a:p>
          <a:r>
            <a:rPr lang="en-GB" dirty="0"/>
            <a:t>Isolate changes and keep them small and manageable</a:t>
          </a:r>
          <a:endParaRPr lang="en-US" dirty="0"/>
        </a:p>
      </dgm:t>
    </dgm:pt>
    <dgm:pt modelId="{852E92F5-39FF-4048-B42D-EFE8C87132E5}" type="parTrans" cxnId="{CE371FBC-DB73-41B7-B41F-A20AD36D2405}">
      <dgm:prSet/>
      <dgm:spPr/>
      <dgm:t>
        <a:bodyPr/>
        <a:lstStyle/>
        <a:p>
          <a:endParaRPr lang="en-US"/>
        </a:p>
      </dgm:t>
    </dgm:pt>
    <dgm:pt modelId="{9E3C2D7F-6109-483F-91EE-A2179A1AA1CE}" type="sibTrans" cxnId="{CE371FBC-DB73-41B7-B41F-A20AD36D2405}">
      <dgm:prSet/>
      <dgm:spPr/>
      <dgm:t>
        <a:bodyPr/>
        <a:lstStyle/>
        <a:p>
          <a:endParaRPr lang="en-US"/>
        </a:p>
      </dgm:t>
    </dgm:pt>
    <dgm:pt modelId="{CA3E79CF-1E53-4AAF-825E-7CFEB711730F}">
      <dgm:prSet/>
      <dgm:spPr/>
      <dgm:t>
        <a:bodyPr/>
        <a:lstStyle/>
        <a:p>
          <a:r>
            <a:rPr lang="en-GB" dirty="0"/>
            <a:t>The system should always be able to run</a:t>
          </a:r>
          <a:endParaRPr lang="en-US" dirty="0"/>
        </a:p>
      </dgm:t>
    </dgm:pt>
    <dgm:pt modelId="{6541C9EE-3FA6-4300-9255-B72E4CE76DE5}" type="parTrans" cxnId="{A46CA323-CB8D-4FAD-8F56-0F5B1C614531}">
      <dgm:prSet/>
      <dgm:spPr/>
      <dgm:t>
        <a:bodyPr/>
        <a:lstStyle/>
        <a:p>
          <a:endParaRPr lang="en-US"/>
        </a:p>
      </dgm:t>
    </dgm:pt>
    <dgm:pt modelId="{6523C7B2-A32F-4E28-A42C-7087F4BA6FEF}" type="sibTrans" cxnId="{A46CA323-CB8D-4FAD-8F56-0F5B1C614531}">
      <dgm:prSet/>
      <dgm:spPr/>
      <dgm:t>
        <a:bodyPr/>
        <a:lstStyle/>
        <a:p>
          <a:endParaRPr lang="en-US"/>
        </a:p>
      </dgm:t>
    </dgm:pt>
    <dgm:pt modelId="{90B37639-6ADA-41A5-A6AB-0968330EEBB8}">
      <dgm:prSet/>
      <dgm:spPr/>
      <dgm:t>
        <a:bodyPr/>
        <a:lstStyle/>
        <a:p>
          <a:r>
            <a:rPr lang="en-GB" b="1" dirty="0"/>
            <a:t>Test your changes</a:t>
          </a:r>
          <a:endParaRPr lang="en-US" b="1" dirty="0"/>
        </a:p>
      </dgm:t>
    </dgm:pt>
    <dgm:pt modelId="{294BFF27-513B-47A6-9013-3BB07F7AE0A6}" type="parTrans" cxnId="{E78D3E69-F7FD-4AA4-BEBD-A5B302E5CBB0}">
      <dgm:prSet/>
      <dgm:spPr/>
      <dgm:t>
        <a:bodyPr/>
        <a:lstStyle/>
        <a:p>
          <a:endParaRPr lang="en-US"/>
        </a:p>
      </dgm:t>
    </dgm:pt>
    <dgm:pt modelId="{E5C9E058-85CC-4F2B-81D7-F16004B5A251}" type="sibTrans" cxnId="{E78D3E69-F7FD-4AA4-BEBD-A5B302E5CBB0}">
      <dgm:prSet/>
      <dgm:spPr/>
      <dgm:t>
        <a:bodyPr/>
        <a:lstStyle/>
        <a:p>
          <a:endParaRPr lang="en-US"/>
        </a:p>
      </dgm:t>
    </dgm:pt>
    <dgm:pt modelId="{B0E81358-70AD-465D-8F09-F6E5F6B8FA72}">
      <dgm:prSet/>
      <dgm:spPr/>
      <dgm:t>
        <a:bodyPr/>
        <a:lstStyle/>
        <a:p>
          <a:r>
            <a:rPr lang="en-GB" dirty="0"/>
            <a:t>Ideally you would have unit test that verify the functionality. If not create test before you refactoring.</a:t>
          </a:r>
          <a:endParaRPr lang="en-US" dirty="0"/>
        </a:p>
      </dgm:t>
    </dgm:pt>
    <dgm:pt modelId="{216CC342-9B36-41B5-A98C-98286A0B9414}" type="parTrans" cxnId="{9D19B234-170F-4E67-80C1-86AA3A378E9E}">
      <dgm:prSet/>
      <dgm:spPr/>
      <dgm:t>
        <a:bodyPr/>
        <a:lstStyle/>
        <a:p>
          <a:endParaRPr lang="en-US"/>
        </a:p>
      </dgm:t>
    </dgm:pt>
    <dgm:pt modelId="{3FAE8072-87D0-49C8-8C3D-2A28A80C56C3}" type="sibTrans" cxnId="{9D19B234-170F-4E67-80C1-86AA3A378E9E}">
      <dgm:prSet/>
      <dgm:spPr/>
      <dgm:t>
        <a:bodyPr/>
        <a:lstStyle/>
        <a:p>
          <a:endParaRPr lang="en-US"/>
        </a:p>
      </dgm:t>
    </dgm:pt>
    <dgm:pt modelId="{6BDB87B5-CD52-490E-9449-5C2638F5FE9B}">
      <dgm:prSet/>
      <dgm:spPr/>
      <dgm:t>
        <a:bodyPr/>
        <a:lstStyle/>
        <a:p>
          <a:r>
            <a:rPr lang="en-GB" dirty="0"/>
            <a:t>Verify your changes with appropriate tests</a:t>
          </a:r>
          <a:endParaRPr lang="en-US" dirty="0"/>
        </a:p>
      </dgm:t>
    </dgm:pt>
    <dgm:pt modelId="{1F282947-A882-48DD-851E-F1E8F12A5B53}" type="parTrans" cxnId="{DD1CB50B-A5C6-442F-B6B9-B28CC0A18A90}">
      <dgm:prSet/>
      <dgm:spPr/>
      <dgm:t>
        <a:bodyPr/>
        <a:lstStyle/>
        <a:p>
          <a:endParaRPr lang="en-US"/>
        </a:p>
      </dgm:t>
    </dgm:pt>
    <dgm:pt modelId="{75CDEF77-19FC-4C63-9272-B10A5F53ADB3}" type="sibTrans" cxnId="{DD1CB50B-A5C6-442F-B6B9-B28CC0A18A90}">
      <dgm:prSet/>
      <dgm:spPr/>
      <dgm:t>
        <a:bodyPr/>
        <a:lstStyle/>
        <a:p>
          <a:endParaRPr lang="en-US"/>
        </a:p>
      </dgm:t>
    </dgm:pt>
    <dgm:pt modelId="{65B7BA38-EEF8-4B95-BBEA-29C14DB00499}">
      <dgm:prSet/>
      <dgm:spPr/>
      <dgm:t>
        <a:bodyPr/>
        <a:lstStyle/>
        <a:p>
          <a:r>
            <a:rPr lang="en-GB" b="1" dirty="0"/>
            <a:t>Automate Test</a:t>
          </a:r>
          <a:endParaRPr lang="en-US" b="1" dirty="0"/>
        </a:p>
      </dgm:t>
    </dgm:pt>
    <dgm:pt modelId="{E5F0E947-A97A-4F37-8228-E9F6A96CF6F3}" type="parTrans" cxnId="{1F7F5D22-4F2C-4CC4-9F99-3BE1B4AE2F8E}">
      <dgm:prSet/>
      <dgm:spPr/>
      <dgm:t>
        <a:bodyPr/>
        <a:lstStyle/>
        <a:p>
          <a:endParaRPr lang="en-US"/>
        </a:p>
      </dgm:t>
    </dgm:pt>
    <dgm:pt modelId="{6EB2AEF1-2C29-42BC-974A-5161D455AA84}" type="sibTrans" cxnId="{1F7F5D22-4F2C-4CC4-9F99-3BE1B4AE2F8E}">
      <dgm:prSet/>
      <dgm:spPr/>
      <dgm:t>
        <a:bodyPr/>
        <a:lstStyle/>
        <a:p>
          <a:endParaRPr lang="en-US"/>
        </a:p>
      </dgm:t>
    </dgm:pt>
    <dgm:pt modelId="{A1EF5632-833D-4920-A1BE-79BB875DF607}">
      <dgm:prSet/>
      <dgm:spPr/>
      <dgm:t>
        <a:bodyPr/>
        <a:lstStyle/>
        <a:p>
          <a:r>
            <a:rPr lang="en-GB" dirty="0"/>
            <a:t>Have different levels of test that run automatically to ensure your refactoring was successful</a:t>
          </a:r>
          <a:endParaRPr lang="en-US" dirty="0"/>
        </a:p>
      </dgm:t>
    </dgm:pt>
    <dgm:pt modelId="{B9D23E09-CEFC-4260-B917-E6C3A5EAAA40}" type="parTrans" cxnId="{DFD04798-A2D4-4761-AE4A-6B28F17F8674}">
      <dgm:prSet/>
      <dgm:spPr/>
      <dgm:t>
        <a:bodyPr/>
        <a:lstStyle/>
        <a:p>
          <a:endParaRPr lang="en-US"/>
        </a:p>
      </dgm:t>
    </dgm:pt>
    <dgm:pt modelId="{28DBF142-E3B5-486C-9A6A-0544EF6DD72A}" type="sibTrans" cxnId="{DFD04798-A2D4-4761-AE4A-6B28F17F8674}">
      <dgm:prSet/>
      <dgm:spPr/>
      <dgm:t>
        <a:bodyPr/>
        <a:lstStyle/>
        <a:p>
          <a:endParaRPr lang="en-US"/>
        </a:p>
      </dgm:t>
    </dgm:pt>
    <dgm:pt modelId="{C278BA86-B155-8D4B-AFB3-4702EB0FA724}">
      <dgm:prSet/>
      <dgm:spPr/>
      <dgm:t>
        <a:bodyPr/>
        <a:lstStyle/>
        <a:p>
          <a:r>
            <a:rPr lang="en-US"/>
            <a:t>Refactor bad code to clean code</a:t>
          </a:r>
          <a:endParaRPr lang="en-US" dirty="0"/>
        </a:p>
      </dgm:t>
    </dgm:pt>
    <dgm:pt modelId="{847F0EAA-06BB-6D4A-B55A-B983B375CBF1}" type="parTrans" cxnId="{572B328F-5754-4F42-8FCF-244417EFED4E}">
      <dgm:prSet/>
      <dgm:spPr/>
      <dgm:t>
        <a:bodyPr/>
        <a:lstStyle/>
        <a:p>
          <a:endParaRPr lang="en-US"/>
        </a:p>
      </dgm:t>
    </dgm:pt>
    <dgm:pt modelId="{9BC828FA-52F5-7C46-AC4C-59AE36A4E2E1}" type="sibTrans" cxnId="{572B328F-5754-4F42-8FCF-244417EFED4E}">
      <dgm:prSet/>
      <dgm:spPr/>
      <dgm:t>
        <a:bodyPr/>
        <a:lstStyle/>
        <a:p>
          <a:endParaRPr lang="en-US"/>
        </a:p>
      </dgm:t>
    </dgm:pt>
    <dgm:pt modelId="{D5D36F27-69FB-D14A-96CC-43AD0C0ED686}" type="pres">
      <dgm:prSet presAssocID="{A173922A-04D8-4A2F-A06A-E04304B112BD}" presName="linear" presStyleCnt="0">
        <dgm:presLayoutVars>
          <dgm:dir/>
          <dgm:animLvl val="lvl"/>
          <dgm:resizeHandles val="exact"/>
        </dgm:presLayoutVars>
      </dgm:prSet>
      <dgm:spPr/>
    </dgm:pt>
    <dgm:pt modelId="{29C1EE04-0C82-5D4C-9CDF-25EA78B551A8}" type="pres">
      <dgm:prSet presAssocID="{C278BA86-B155-8D4B-AFB3-4702EB0FA724}" presName="parentLin" presStyleCnt="0"/>
      <dgm:spPr/>
    </dgm:pt>
    <dgm:pt modelId="{A0934ABE-740B-3B42-BAD7-FCCBA566E6BE}" type="pres">
      <dgm:prSet presAssocID="{C278BA86-B155-8D4B-AFB3-4702EB0FA724}" presName="parentLeftMargin" presStyleLbl="node1" presStyleIdx="0" presStyleCnt="1"/>
      <dgm:spPr/>
    </dgm:pt>
    <dgm:pt modelId="{79B010BF-6186-344C-9E14-ADF88B99277C}" type="pres">
      <dgm:prSet presAssocID="{C278BA86-B155-8D4B-AFB3-4702EB0FA724}" presName="parentText" presStyleLbl="node1" presStyleIdx="0" presStyleCnt="1">
        <dgm:presLayoutVars>
          <dgm:chMax val="0"/>
          <dgm:bulletEnabled val="1"/>
        </dgm:presLayoutVars>
      </dgm:prSet>
      <dgm:spPr/>
    </dgm:pt>
    <dgm:pt modelId="{4E5B2B16-7774-1142-8D34-83EEF9DEE3D1}" type="pres">
      <dgm:prSet presAssocID="{C278BA86-B155-8D4B-AFB3-4702EB0FA724}" presName="negativeSpace" presStyleCnt="0"/>
      <dgm:spPr/>
    </dgm:pt>
    <dgm:pt modelId="{133DC22C-7D2D-9647-9629-362BADE43A1B}" type="pres">
      <dgm:prSet presAssocID="{C278BA86-B155-8D4B-AFB3-4702EB0FA724}" presName="childText" presStyleLbl="conFgAcc1" presStyleIdx="0" presStyleCnt="1">
        <dgm:presLayoutVars>
          <dgm:bulletEnabled val="1"/>
        </dgm:presLayoutVars>
      </dgm:prSet>
      <dgm:spPr/>
    </dgm:pt>
  </dgm:ptLst>
  <dgm:cxnLst>
    <dgm:cxn modelId="{5F928208-1080-4391-A2A4-5F9EBEA1D037}" srcId="{C278BA86-B155-8D4B-AFB3-4702EB0FA724}" destId="{EA628D00-2968-4F18-B919-842065F224C0}" srcOrd="0" destOrd="0" parTransId="{AADC0F5C-AE0E-4900-B0B7-C3870CB05CB4}" sibTransId="{21173BE8-741D-4632-9DA4-0C2ECF2F4E7C}"/>
    <dgm:cxn modelId="{DD1CB50B-A5C6-442F-B6B9-B28CC0A18A90}" srcId="{90B37639-6ADA-41A5-A6AB-0968330EEBB8}" destId="{6BDB87B5-CD52-490E-9449-5C2638F5FE9B}" srcOrd="1" destOrd="0" parTransId="{1F282947-A882-48DD-851E-F1E8F12A5B53}" sibTransId="{75CDEF77-19FC-4C63-9272-B10A5F53ADB3}"/>
    <dgm:cxn modelId="{1F7F5D22-4F2C-4CC4-9F99-3BE1B4AE2F8E}" srcId="{C278BA86-B155-8D4B-AFB3-4702EB0FA724}" destId="{65B7BA38-EEF8-4B95-BBEA-29C14DB00499}" srcOrd="2" destOrd="0" parTransId="{E5F0E947-A97A-4F37-8228-E9F6A96CF6F3}" sibTransId="{6EB2AEF1-2C29-42BC-974A-5161D455AA84}"/>
    <dgm:cxn modelId="{A46CA323-CB8D-4FAD-8F56-0F5B1C614531}" srcId="{EA628D00-2968-4F18-B919-842065F224C0}" destId="{CA3E79CF-1E53-4AAF-825E-7CFEB711730F}" srcOrd="1" destOrd="0" parTransId="{6541C9EE-3FA6-4300-9255-B72E4CE76DE5}" sibTransId="{6523C7B2-A32F-4E28-A42C-7087F4BA6FEF}"/>
    <dgm:cxn modelId="{9D19B234-170F-4E67-80C1-86AA3A378E9E}" srcId="{90B37639-6ADA-41A5-A6AB-0968330EEBB8}" destId="{B0E81358-70AD-465D-8F09-F6E5F6B8FA72}" srcOrd="0" destOrd="0" parTransId="{216CC342-9B36-41B5-A98C-98286A0B9414}" sibTransId="{3FAE8072-87D0-49C8-8C3D-2A28A80C56C3}"/>
    <dgm:cxn modelId="{755BC73B-EB9D-EA4C-AEBE-E1D70992665B}" type="presOf" srcId="{72ABCF41-9F96-40D0-9CD8-001623550C01}" destId="{133DC22C-7D2D-9647-9629-362BADE43A1B}" srcOrd="0" destOrd="1" presId="urn:microsoft.com/office/officeart/2005/8/layout/list1"/>
    <dgm:cxn modelId="{B6134243-D678-FE42-B1C5-D66133C027E1}" type="presOf" srcId="{C278BA86-B155-8D4B-AFB3-4702EB0FA724}" destId="{A0934ABE-740B-3B42-BAD7-FCCBA566E6BE}" srcOrd="0" destOrd="0" presId="urn:microsoft.com/office/officeart/2005/8/layout/list1"/>
    <dgm:cxn modelId="{D0A1885E-D52B-C14D-A80C-947EE5970FCE}" type="presOf" srcId="{B0E81358-70AD-465D-8F09-F6E5F6B8FA72}" destId="{133DC22C-7D2D-9647-9629-362BADE43A1B}" srcOrd="0" destOrd="4" presId="urn:microsoft.com/office/officeart/2005/8/layout/list1"/>
    <dgm:cxn modelId="{55318C68-50F2-2144-9CC6-D6AF4E0C7309}" type="presOf" srcId="{C278BA86-B155-8D4B-AFB3-4702EB0FA724}" destId="{79B010BF-6186-344C-9E14-ADF88B99277C}" srcOrd="1" destOrd="0" presId="urn:microsoft.com/office/officeart/2005/8/layout/list1"/>
    <dgm:cxn modelId="{E78D3E69-F7FD-4AA4-BEBD-A5B302E5CBB0}" srcId="{C278BA86-B155-8D4B-AFB3-4702EB0FA724}" destId="{90B37639-6ADA-41A5-A6AB-0968330EEBB8}" srcOrd="1" destOrd="0" parTransId="{294BFF27-513B-47A6-9013-3BB07F7AE0A6}" sibTransId="{E5C9E058-85CC-4F2B-81D7-F16004B5A251}"/>
    <dgm:cxn modelId="{11A78884-373A-8B48-963A-2BB7D50E3E4A}" type="presOf" srcId="{A173922A-04D8-4A2F-A06A-E04304B112BD}" destId="{D5D36F27-69FB-D14A-96CC-43AD0C0ED686}" srcOrd="0" destOrd="0" presId="urn:microsoft.com/office/officeart/2005/8/layout/list1"/>
    <dgm:cxn modelId="{572B328F-5754-4F42-8FCF-244417EFED4E}" srcId="{A173922A-04D8-4A2F-A06A-E04304B112BD}" destId="{C278BA86-B155-8D4B-AFB3-4702EB0FA724}" srcOrd="0" destOrd="0" parTransId="{847F0EAA-06BB-6D4A-B55A-B983B375CBF1}" sibTransId="{9BC828FA-52F5-7C46-AC4C-59AE36A4E2E1}"/>
    <dgm:cxn modelId="{BEEA5A97-E7E0-8C48-8F02-1FCF8CB8ECEA}" type="presOf" srcId="{EA628D00-2968-4F18-B919-842065F224C0}" destId="{133DC22C-7D2D-9647-9629-362BADE43A1B}" srcOrd="0" destOrd="0" presId="urn:microsoft.com/office/officeart/2005/8/layout/list1"/>
    <dgm:cxn modelId="{DFD04798-A2D4-4761-AE4A-6B28F17F8674}" srcId="{65B7BA38-EEF8-4B95-BBEA-29C14DB00499}" destId="{A1EF5632-833D-4920-A1BE-79BB875DF607}" srcOrd="0" destOrd="0" parTransId="{B9D23E09-CEFC-4260-B917-E6C3A5EAAA40}" sibTransId="{28DBF142-E3B5-486C-9A6A-0544EF6DD72A}"/>
    <dgm:cxn modelId="{195ED79F-B401-7E42-AFD6-492685B36CF8}" type="presOf" srcId="{65B7BA38-EEF8-4B95-BBEA-29C14DB00499}" destId="{133DC22C-7D2D-9647-9629-362BADE43A1B}" srcOrd="0" destOrd="6" presId="urn:microsoft.com/office/officeart/2005/8/layout/list1"/>
    <dgm:cxn modelId="{CE371FBC-DB73-41B7-B41F-A20AD36D2405}" srcId="{EA628D00-2968-4F18-B919-842065F224C0}" destId="{72ABCF41-9F96-40D0-9CD8-001623550C01}" srcOrd="0" destOrd="0" parTransId="{852E92F5-39FF-4048-B42D-EFE8C87132E5}" sibTransId="{9E3C2D7F-6109-483F-91EE-A2179A1AA1CE}"/>
    <dgm:cxn modelId="{F1C030C5-247D-E04E-A862-B3830C7CB9D3}" type="presOf" srcId="{A1EF5632-833D-4920-A1BE-79BB875DF607}" destId="{133DC22C-7D2D-9647-9629-362BADE43A1B}" srcOrd="0" destOrd="7" presId="urn:microsoft.com/office/officeart/2005/8/layout/list1"/>
    <dgm:cxn modelId="{5339AAC5-A2B3-E04C-9CBD-D98AA041E742}" type="presOf" srcId="{6BDB87B5-CD52-490E-9449-5C2638F5FE9B}" destId="{133DC22C-7D2D-9647-9629-362BADE43A1B}" srcOrd="0" destOrd="5" presId="urn:microsoft.com/office/officeart/2005/8/layout/list1"/>
    <dgm:cxn modelId="{3A7C50D9-4B43-D445-A82A-31234D555C08}" type="presOf" srcId="{CA3E79CF-1E53-4AAF-825E-7CFEB711730F}" destId="{133DC22C-7D2D-9647-9629-362BADE43A1B}" srcOrd="0" destOrd="2" presId="urn:microsoft.com/office/officeart/2005/8/layout/list1"/>
    <dgm:cxn modelId="{DC0EEFFE-CBAC-DD4E-9659-9A28A0CCA6F4}" type="presOf" srcId="{90B37639-6ADA-41A5-A6AB-0968330EEBB8}" destId="{133DC22C-7D2D-9647-9629-362BADE43A1B}" srcOrd="0" destOrd="3" presId="urn:microsoft.com/office/officeart/2005/8/layout/list1"/>
    <dgm:cxn modelId="{4AC8FBCF-9241-9D4D-A580-D5F7891DBB73}" type="presParOf" srcId="{D5D36F27-69FB-D14A-96CC-43AD0C0ED686}" destId="{29C1EE04-0C82-5D4C-9CDF-25EA78B551A8}" srcOrd="0" destOrd="0" presId="urn:microsoft.com/office/officeart/2005/8/layout/list1"/>
    <dgm:cxn modelId="{5FB3C8DE-EA8D-BF47-B2D2-287D18A093B1}" type="presParOf" srcId="{29C1EE04-0C82-5D4C-9CDF-25EA78B551A8}" destId="{A0934ABE-740B-3B42-BAD7-FCCBA566E6BE}" srcOrd="0" destOrd="0" presId="urn:microsoft.com/office/officeart/2005/8/layout/list1"/>
    <dgm:cxn modelId="{A43C54A5-64CC-7842-9B5A-4EF5E69ABD06}" type="presParOf" srcId="{29C1EE04-0C82-5D4C-9CDF-25EA78B551A8}" destId="{79B010BF-6186-344C-9E14-ADF88B99277C}" srcOrd="1" destOrd="0" presId="urn:microsoft.com/office/officeart/2005/8/layout/list1"/>
    <dgm:cxn modelId="{076AA97E-5F97-B348-B715-13F0028A98AD}" type="presParOf" srcId="{D5D36F27-69FB-D14A-96CC-43AD0C0ED686}" destId="{4E5B2B16-7774-1142-8D34-83EEF9DEE3D1}" srcOrd="1" destOrd="0" presId="urn:microsoft.com/office/officeart/2005/8/layout/list1"/>
    <dgm:cxn modelId="{DFFEA06B-7472-304A-B5A2-BC1A3B83BB3B}" type="presParOf" srcId="{D5D36F27-69FB-D14A-96CC-43AD0C0ED686}" destId="{133DC22C-7D2D-9647-9629-362BADE43A1B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D45E580-FB3A-403D-BD00-451D286CF8C1}" type="doc">
      <dgm:prSet loTypeId="urn:microsoft.com/office/officeart/2016/7/layout/LinearArrowProcessNumbered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C537E04-6915-4A08-9021-6EF5961CED4B}">
      <dgm:prSet/>
      <dgm:spPr/>
      <dgm:t>
        <a:bodyPr/>
        <a:lstStyle/>
        <a:p>
          <a:r>
            <a:rPr lang="en-GB" dirty="0"/>
            <a:t>Use Boy Scout Rule</a:t>
          </a:r>
          <a:endParaRPr lang="en-US" dirty="0"/>
        </a:p>
      </dgm:t>
    </dgm:pt>
    <dgm:pt modelId="{4F27E471-2E35-4DCD-BFB7-D893E0D2A79D}" type="parTrans" cxnId="{B8D8FB46-0DA6-49A5-A3DA-101ACB110AD1}">
      <dgm:prSet/>
      <dgm:spPr/>
      <dgm:t>
        <a:bodyPr/>
        <a:lstStyle/>
        <a:p>
          <a:endParaRPr lang="en-US"/>
        </a:p>
      </dgm:t>
    </dgm:pt>
    <dgm:pt modelId="{CF5D4852-0BD2-437A-B943-C9412BBD5A17}" type="sibTrans" cxnId="{B8D8FB46-0DA6-49A5-A3DA-101ACB110AD1}">
      <dgm:prSet phldrT="1" phldr="0"/>
      <dgm:spPr/>
      <dgm:t>
        <a:bodyPr/>
        <a:lstStyle/>
        <a:p>
          <a:r>
            <a:rPr lang="en-US"/>
            <a:t>1</a:t>
          </a:r>
        </a:p>
      </dgm:t>
    </dgm:pt>
    <dgm:pt modelId="{C9B53C4A-E6AA-4244-A5B4-5CB398E29338}">
      <dgm:prSet/>
      <dgm:spPr/>
      <dgm:t>
        <a:bodyPr/>
        <a:lstStyle/>
        <a:p>
          <a:r>
            <a:rPr lang="en-GB" dirty="0"/>
            <a:t>Measure code complexity</a:t>
          </a:r>
          <a:endParaRPr lang="en-US" dirty="0"/>
        </a:p>
      </dgm:t>
    </dgm:pt>
    <dgm:pt modelId="{0ABBEB0C-434E-4132-AF56-3DF979FBC3AE}" type="parTrans" cxnId="{E1036789-B125-406A-9426-6A19660DF23B}">
      <dgm:prSet/>
      <dgm:spPr/>
      <dgm:t>
        <a:bodyPr/>
        <a:lstStyle/>
        <a:p>
          <a:endParaRPr lang="en-US"/>
        </a:p>
      </dgm:t>
    </dgm:pt>
    <dgm:pt modelId="{47072180-8A6E-469A-AF4F-D8759EAC650F}" type="sibTrans" cxnId="{E1036789-B125-406A-9426-6A19660DF23B}">
      <dgm:prSet phldrT="2" phldr="0"/>
      <dgm:spPr/>
      <dgm:t>
        <a:bodyPr/>
        <a:lstStyle/>
        <a:p>
          <a:r>
            <a:rPr lang="en-US"/>
            <a:t>2</a:t>
          </a:r>
        </a:p>
      </dgm:t>
    </dgm:pt>
    <dgm:pt modelId="{52E295C7-AE38-43A3-829D-C94922D409EB}">
      <dgm:prSet/>
      <dgm:spPr/>
      <dgm:t>
        <a:bodyPr/>
        <a:lstStyle/>
        <a:p>
          <a:r>
            <a:rPr lang="en-GB" dirty="0"/>
            <a:t> Measure automatically in CI/CD.</a:t>
          </a:r>
          <a:endParaRPr lang="en-US" dirty="0"/>
        </a:p>
      </dgm:t>
    </dgm:pt>
    <dgm:pt modelId="{BA538BC1-0B53-489C-A441-3ED335AD048D}" type="parTrans" cxnId="{F3E7EFCC-3572-4446-A0D1-A15CCF8D1FCD}">
      <dgm:prSet/>
      <dgm:spPr/>
      <dgm:t>
        <a:bodyPr/>
        <a:lstStyle/>
        <a:p>
          <a:endParaRPr lang="en-US"/>
        </a:p>
      </dgm:t>
    </dgm:pt>
    <dgm:pt modelId="{C2346876-8078-43C4-AC05-6D9C6EEDE881}" type="sibTrans" cxnId="{F3E7EFCC-3572-4446-A0D1-A15CCF8D1FCD}">
      <dgm:prSet/>
      <dgm:spPr/>
      <dgm:t>
        <a:bodyPr/>
        <a:lstStyle/>
        <a:p>
          <a:endParaRPr lang="en-US"/>
        </a:p>
      </dgm:t>
    </dgm:pt>
    <dgm:pt modelId="{86949930-3AE3-4370-894A-EE269DCA1F2A}">
      <dgm:prSet/>
      <dgm:spPr/>
      <dgm:t>
        <a:bodyPr/>
        <a:lstStyle/>
        <a:p>
          <a:r>
            <a:rPr lang="en-GB" dirty="0"/>
            <a:t>Conduct code review. </a:t>
          </a:r>
          <a:endParaRPr lang="en-US" dirty="0"/>
        </a:p>
      </dgm:t>
    </dgm:pt>
    <dgm:pt modelId="{A743F047-CC9B-463A-9742-B43682128963}" type="parTrans" cxnId="{B018942C-E1FD-49B8-ACA5-6725CD3D9FC8}">
      <dgm:prSet/>
      <dgm:spPr/>
      <dgm:t>
        <a:bodyPr/>
        <a:lstStyle/>
        <a:p>
          <a:endParaRPr lang="en-US"/>
        </a:p>
      </dgm:t>
    </dgm:pt>
    <dgm:pt modelId="{3374C53A-CA14-448E-8865-C881A725BC34}" type="sibTrans" cxnId="{B018942C-E1FD-49B8-ACA5-6725CD3D9FC8}">
      <dgm:prSet phldrT="3" phldr="0"/>
      <dgm:spPr/>
      <dgm:t>
        <a:bodyPr/>
        <a:lstStyle/>
        <a:p>
          <a:r>
            <a:rPr lang="en-US"/>
            <a:t>3</a:t>
          </a:r>
        </a:p>
      </dgm:t>
    </dgm:pt>
    <dgm:pt modelId="{D51FC8A9-C283-40A5-8D4D-46925C1D50F1}">
      <dgm:prSet/>
      <dgm:spPr/>
      <dgm:t>
        <a:bodyPr/>
        <a:lstStyle/>
        <a:p>
          <a:r>
            <a:rPr lang="en-GB" dirty="0"/>
            <a:t>Create a technical debt log.</a:t>
          </a:r>
        </a:p>
      </dgm:t>
    </dgm:pt>
    <dgm:pt modelId="{BB0BF5CA-94E1-4456-A0C2-6C4B506AA734}" type="parTrans" cxnId="{53627F5D-E22A-4573-93B6-483EAA80E516}">
      <dgm:prSet/>
      <dgm:spPr/>
      <dgm:t>
        <a:bodyPr/>
        <a:lstStyle/>
        <a:p>
          <a:endParaRPr lang="en-US"/>
        </a:p>
      </dgm:t>
    </dgm:pt>
    <dgm:pt modelId="{D171BB34-7410-4B3E-8AB0-B812B8B3D1F1}" type="sibTrans" cxnId="{53627F5D-E22A-4573-93B6-483EAA80E516}">
      <dgm:prSet phldrT="4" phldr="0"/>
      <dgm:spPr/>
      <dgm:t>
        <a:bodyPr/>
        <a:lstStyle/>
        <a:p>
          <a:r>
            <a:rPr lang="en-US"/>
            <a:t>4</a:t>
          </a:r>
        </a:p>
      </dgm:t>
    </dgm:pt>
    <dgm:pt modelId="{985F14D0-C7A2-0749-8DBB-959639C6578D}">
      <dgm:prSet/>
      <dgm:spPr/>
      <dgm:t>
        <a:bodyPr/>
        <a:lstStyle/>
        <a:p>
          <a:r>
            <a:rPr lang="en-GB" dirty="0"/>
            <a:t> Regularly work through the list and refactor the code.</a:t>
          </a:r>
          <a:endParaRPr lang="en-US" dirty="0"/>
        </a:p>
      </dgm:t>
    </dgm:pt>
    <dgm:pt modelId="{7AE9CD23-4A50-AD40-A584-99CC030CB6F8}" type="parTrans" cxnId="{570D738C-A6DD-6248-8576-081CC77207A5}">
      <dgm:prSet/>
      <dgm:spPr/>
      <dgm:t>
        <a:bodyPr/>
        <a:lstStyle/>
        <a:p>
          <a:endParaRPr lang="en-US"/>
        </a:p>
      </dgm:t>
    </dgm:pt>
    <dgm:pt modelId="{EF30C3B4-8863-A349-B8F9-5B54E43AEE70}" type="sibTrans" cxnId="{570D738C-A6DD-6248-8576-081CC77207A5}">
      <dgm:prSet phldrT="5" phldr="0"/>
      <dgm:spPr/>
    </dgm:pt>
    <dgm:pt modelId="{B6B0C722-AF82-244D-AC71-10AC576679D6}">
      <dgm:prSet/>
      <dgm:spPr/>
      <dgm:t>
        <a:bodyPr/>
        <a:lstStyle/>
        <a:p>
          <a:r>
            <a:rPr lang="en-GB" dirty="0"/>
            <a:t> Insist on clean code even when it takes longer</a:t>
          </a:r>
          <a:endParaRPr lang="en-US" dirty="0"/>
        </a:p>
      </dgm:t>
    </dgm:pt>
    <dgm:pt modelId="{8A0E7866-B9F2-484C-9721-231A873C0C8C}" type="parTrans" cxnId="{56BD96D4-545F-5D44-90D1-B264D3045915}">
      <dgm:prSet/>
      <dgm:spPr/>
      <dgm:t>
        <a:bodyPr/>
        <a:lstStyle/>
        <a:p>
          <a:endParaRPr lang="en-US"/>
        </a:p>
      </dgm:t>
    </dgm:pt>
    <dgm:pt modelId="{DE3BF147-1779-E54E-B12F-FAAF96AB00AF}" type="sibTrans" cxnId="{56BD96D4-545F-5D44-90D1-B264D3045915}">
      <dgm:prSet phldrT="4" phldr="0"/>
      <dgm:spPr/>
    </dgm:pt>
    <dgm:pt modelId="{B9F33426-DFAB-6040-899F-BB2D035354D4}">
      <dgm:prSet/>
      <dgm:spPr/>
      <dgm:t>
        <a:bodyPr/>
        <a:lstStyle/>
        <a:p>
          <a:r>
            <a:rPr lang="en-US" dirty="0"/>
            <a:t> Clean up ethe code you are working on.</a:t>
          </a:r>
        </a:p>
      </dgm:t>
    </dgm:pt>
    <dgm:pt modelId="{5143ED40-5890-CE4D-AFA1-D0E447C715C7}" type="parTrans" cxnId="{2D842E03-F656-524B-B426-FDF5220316D6}">
      <dgm:prSet/>
      <dgm:spPr/>
      <dgm:t>
        <a:bodyPr/>
        <a:lstStyle/>
        <a:p>
          <a:endParaRPr lang="en-US"/>
        </a:p>
      </dgm:t>
    </dgm:pt>
    <dgm:pt modelId="{EE426167-F1B7-B64D-B84A-9C5867C59004}" type="sibTrans" cxnId="{2D842E03-F656-524B-B426-FDF5220316D6}">
      <dgm:prSet phldrT="2" phldr="0"/>
      <dgm:spPr/>
    </dgm:pt>
    <dgm:pt modelId="{25C7007C-8998-714B-993A-405437417BDD}">
      <dgm:prSet/>
      <dgm:spPr/>
      <dgm:t>
        <a:bodyPr/>
        <a:lstStyle/>
        <a:p>
          <a:r>
            <a:rPr lang="en-US" dirty="0"/>
            <a:t> Identify places that need refactoring</a:t>
          </a:r>
        </a:p>
      </dgm:t>
    </dgm:pt>
    <dgm:pt modelId="{C2E6AC6E-701D-7148-80BA-059172F56ED0}" type="parTrans" cxnId="{1DC5581F-B09B-6749-85E2-7A1E8872B0BD}">
      <dgm:prSet/>
      <dgm:spPr/>
      <dgm:t>
        <a:bodyPr/>
        <a:lstStyle/>
        <a:p>
          <a:endParaRPr lang="en-US"/>
        </a:p>
      </dgm:t>
    </dgm:pt>
    <dgm:pt modelId="{26E45F1C-811E-1F46-A742-39A9490A21FA}" type="sibTrans" cxnId="{1DC5581F-B09B-6749-85E2-7A1E8872B0BD}">
      <dgm:prSet phldrT="3" phldr="0"/>
      <dgm:spPr/>
    </dgm:pt>
    <dgm:pt modelId="{4B8C27FD-30F1-8348-8B16-27DCCA353838}" type="pres">
      <dgm:prSet presAssocID="{CD45E580-FB3A-403D-BD00-451D286CF8C1}" presName="linearFlow" presStyleCnt="0">
        <dgm:presLayoutVars>
          <dgm:dir/>
          <dgm:animLvl val="lvl"/>
          <dgm:resizeHandles val="exact"/>
        </dgm:presLayoutVars>
      </dgm:prSet>
      <dgm:spPr/>
    </dgm:pt>
    <dgm:pt modelId="{B3B3E009-156F-9046-B4AA-38C0408BA2E9}" type="pres">
      <dgm:prSet presAssocID="{BC537E04-6915-4A08-9021-6EF5961CED4B}" presName="compositeNode" presStyleCnt="0"/>
      <dgm:spPr/>
    </dgm:pt>
    <dgm:pt modelId="{6F7E063A-C144-1B41-87CC-53949EE09508}" type="pres">
      <dgm:prSet presAssocID="{BC537E04-6915-4A08-9021-6EF5961CED4B}" presName="parTx" presStyleLbl="node1" presStyleIdx="0" presStyleCnt="0">
        <dgm:presLayoutVars>
          <dgm:chMax val="0"/>
          <dgm:chPref val="0"/>
          <dgm:bulletEnabled val="1"/>
        </dgm:presLayoutVars>
      </dgm:prSet>
      <dgm:spPr/>
    </dgm:pt>
    <dgm:pt modelId="{5B4DB289-89CB-AF44-AC3D-2C2D7457798A}" type="pres">
      <dgm:prSet presAssocID="{BC537E04-6915-4A08-9021-6EF5961CED4B}" presName="parSh" presStyleCnt="0"/>
      <dgm:spPr/>
    </dgm:pt>
    <dgm:pt modelId="{8C90E9E2-86DF-A24F-ACBA-32117FB2ADE7}" type="pres">
      <dgm:prSet presAssocID="{BC537E04-6915-4A08-9021-6EF5961CED4B}" presName="lineNode" presStyleLbl="alignAccFollowNode1" presStyleIdx="0" presStyleCnt="12"/>
      <dgm:spPr/>
    </dgm:pt>
    <dgm:pt modelId="{A8FFEF79-6CE8-8D49-9E19-7696C0D67658}" type="pres">
      <dgm:prSet presAssocID="{BC537E04-6915-4A08-9021-6EF5961CED4B}" presName="lineArrowNode" presStyleLbl="alignAccFollowNode1" presStyleIdx="1" presStyleCnt="12"/>
      <dgm:spPr/>
    </dgm:pt>
    <dgm:pt modelId="{C911045C-E623-3C4F-AF98-B11DCDBAB278}" type="pres">
      <dgm:prSet presAssocID="{CF5D4852-0BD2-437A-B943-C9412BBD5A17}" presName="sibTransNodeCircle" presStyleLbl="alignNode1" presStyleIdx="0" presStyleCnt="4">
        <dgm:presLayoutVars>
          <dgm:chMax val="0"/>
          <dgm:bulletEnabled/>
        </dgm:presLayoutVars>
      </dgm:prSet>
      <dgm:spPr/>
    </dgm:pt>
    <dgm:pt modelId="{3049FEBD-A1C9-A940-8B23-C75EB6732FC8}" type="pres">
      <dgm:prSet presAssocID="{CF5D4852-0BD2-437A-B943-C9412BBD5A17}" presName="spacerBetweenCircleAndCallout" presStyleCnt="0">
        <dgm:presLayoutVars/>
      </dgm:prSet>
      <dgm:spPr/>
    </dgm:pt>
    <dgm:pt modelId="{CE4741A4-458E-8C4E-ADCA-0F010730E4D9}" type="pres">
      <dgm:prSet presAssocID="{BC537E04-6915-4A08-9021-6EF5961CED4B}" presName="nodeText" presStyleLbl="alignAccFollowNode1" presStyleIdx="2" presStyleCnt="12">
        <dgm:presLayoutVars>
          <dgm:bulletEnabled val="1"/>
        </dgm:presLayoutVars>
      </dgm:prSet>
      <dgm:spPr/>
    </dgm:pt>
    <dgm:pt modelId="{C64BA9B3-6625-E245-A4F2-4534868580C4}" type="pres">
      <dgm:prSet presAssocID="{CF5D4852-0BD2-437A-B943-C9412BBD5A17}" presName="sibTransComposite" presStyleCnt="0"/>
      <dgm:spPr/>
    </dgm:pt>
    <dgm:pt modelId="{31892A87-6D72-AC46-A4A8-CF8122F12C53}" type="pres">
      <dgm:prSet presAssocID="{C9B53C4A-E6AA-4244-A5B4-5CB398E29338}" presName="compositeNode" presStyleCnt="0"/>
      <dgm:spPr/>
    </dgm:pt>
    <dgm:pt modelId="{5E69318B-E9D2-7D44-B223-157F918AA9CB}" type="pres">
      <dgm:prSet presAssocID="{C9B53C4A-E6AA-4244-A5B4-5CB398E29338}" presName="parTx" presStyleLbl="node1" presStyleIdx="0" presStyleCnt="0">
        <dgm:presLayoutVars>
          <dgm:chMax val="0"/>
          <dgm:chPref val="0"/>
          <dgm:bulletEnabled val="1"/>
        </dgm:presLayoutVars>
      </dgm:prSet>
      <dgm:spPr/>
    </dgm:pt>
    <dgm:pt modelId="{9A7675B0-5D9E-604D-9DA3-63EF44A0ECAB}" type="pres">
      <dgm:prSet presAssocID="{C9B53C4A-E6AA-4244-A5B4-5CB398E29338}" presName="parSh" presStyleCnt="0"/>
      <dgm:spPr/>
    </dgm:pt>
    <dgm:pt modelId="{37F96BF3-CB19-C946-95A6-B89F093FF83C}" type="pres">
      <dgm:prSet presAssocID="{C9B53C4A-E6AA-4244-A5B4-5CB398E29338}" presName="lineNode" presStyleLbl="alignAccFollowNode1" presStyleIdx="3" presStyleCnt="12"/>
      <dgm:spPr/>
    </dgm:pt>
    <dgm:pt modelId="{A6C373DA-2469-434B-801E-8BB6459FE297}" type="pres">
      <dgm:prSet presAssocID="{C9B53C4A-E6AA-4244-A5B4-5CB398E29338}" presName="lineArrowNode" presStyleLbl="alignAccFollowNode1" presStyleIdx="4" presStyleCnt="12"/>
      <dgm:spPr/>
    </dgm:pt>
    <dgm:pt modelId="{D8F2A813-4057-EB4B-AFAE-EED05B042501}" type="pres">
      <dgm:prSet presAssocID="{47072180-8A6E-469A-AF4F-D8759EAC650F}" presName="sibTransNodeCircle" presStyleLbl="alignNode1" presStyleIdx="1" presStyleCnt="4">
        <dgm:presLayoutVars>
          <dgm:chMax val="0"/>
          <dgm:bulletEnabled/>
        </dgm:presLayoutVars>
      </dgm:prSet>
      <dgm:spPr/>
    </dgm:pt>
    <dgm:pt modelId="{EC2605E0-FE09-1341-95F2-F09C0DB487D3}" type="pres">
      <dgm:prSet presAssocID="{47072180-8A6E-469A-AF4F-D8759EAC650F}" presName="spacerBetweenCircleAndCallout" presStyleCnt="0">
        <dgm:presLayoutVars/>
      </dgm:prSet>
      <dgm:spPr/>
    </dgm:pt>
    <dgm:pt modelId="{1E95D674-8448-7347-BF86-6A508954D6BD}" type="pres">
      <dgm:prSet presAssocID="{C9B53C4A-E6AA-4244-A5B4-5CB398E29338}" presName="nodeText" presStyleLbl="alignAccFollowNode1" presStyleIdx="5" presStyleCnt="12">
        <dgm:presLayoutVars>
          <dgm:bulletEnabled val="1"/>
        </dgm:presLayoutVars>
      </dgm:prSet>
      <dgm:spPr/>
    </dgm:pt>
    <dgm:pt modelId="{6E88666F-6E93-434B-8AC1-EAA1AE356035}" type="pres">
      <dgm:prSet presAssocID="{47072180-8A6E-469A-AF4F-D8759EAC650F}" presName="sibTransComposite" presStyleCnt="0"/>
      <dgm:spPr/>
    </dgm:pt>
    <dgm:pt modelId="{5D02563E-9984-9D40-B713-2D490AD23944}" type="pres">
      <dgm:prSet presAssocID="{86949930-3AE3-4370-894A-EE269DCA1F2A}" presName="compositeNode" presStyleCnt="0"/>
      <dgm:spPr/>
    </dgm:pt>
    <dgm:pt modelId="{27900CAB-37CD-8641-B96A-564F5B71A624}" type="pres">
      <dgm:prSet presAssocID="{86949930-3AE3-4370-894A-EE269DCA1F2A}" presName="parTx" presStyleLbl="node1" presStyleIdx="0" presStyleCnt="0">
        <dgm:presLayoutVars>
          <dgm:chMax val="0"/>
          <dgm:chPref val="0"/>
          <dgm:bulletEnabled val="1"/>
        </dgm:presLayoutVars>
      </dgm:prSet>
      <dgm:spPr/>
    </dgm:pt>
    <dgm:pt modelId="{2BC6022B-167C-554E-882B-665408613576}" type="pres">
      <dgm:prSet presAssocID="{86949930-3AE3-4370-894A-EE269DCA1F2A}" presName="parSh" presStyleCnt="0"/>
      <dgm:spPr/>
    </dgm:pt>
    <dgm:pt modelId="{F87B208D-E0CB-C243-9890-193658DBFF32}" type="pres">
      <dgm:prSet presAssocID="{86949930-3AE3-4370-894A-EE269DCA1F2A}" presName="lineNode" presStyleLbl="alignAccFollowNode1" presStyleIdx="6" presStyleCnt="12"/>
      <dgm:spPr/>
    </dgm:pt>
    <dgm:pt modelId="{441BFDDB-6924-344A-B069-D8E5B6AB1DD7}" type="pres">
      <dgm:prSet presAssocID="{86949930-3AE3-4370-894A-EE269DCA1F2A}" presName="lineArrowNode" presStyleLbl="alignAccFollowNode1" presStyleIdx="7" presStyleCnt="12"/>
      <dgm:spPr/>
    </dgm:pt>
    <dgm:pt modelId="{7163A0B3-75A1-C046-9E01-C6A2BC7B9E2E}" type="pres">
      <dgm:prSet presAssocID="{3374C53A-CA14-448E-8865-C881A725BC34}" presName="sibTransNodeCircle" presStyleLbl="alignNode1" presStyleIdx="2" presStyleCnt="4">
        <dgm:presLayoutVars>
          <dgm:chMax val="0"/>
          <dgm:bulletEnabled/>
        </dgm:presLayoutVars>
      </dgm:prSet>
      <dgm:spPr/>
    </dgm:pt>
    <dgm:pt modelId="{75E0066B-42CB-3F40-A404-532DD8995847}" type="pres">
      <dgm:prSet presAssocID="{3374C53A-CA14-448E-8865-C881A725BC34}" presName="spacerBetweenCircleAndCallout" presStyleCnt="0">
        <dgm:presLayoutVars/>
      </dgm:prSet>
      <dgm:spPr/>
    </dgm:pt>
    <dgm:pt modelId="{E0C70099-C20C-A74C-BDCA-329773ECDABB}" type="pres">
      <dgm:prSet presAssocID="{86949930-3AE3-4370-894A-EE269DCA1F2A}" presName="nodeText" presStyleLbl="alignAccFollowNode1" presStyleIdx="8" presStyleCnt="12">
        <dgm:presLayoutVars>
          <dgm:bulletEnabled val="1"/>
        </dgm:presLayoutVars>
      </dgm:prSet>
      <dgm:spPr/>
    </dgm:pt>
    <dgm:pt modelId="{936CAF04-7CFD-0149-B8E8-94C7DDF72EE7}" type="pres">
      <dgm:prSet presAssocID="{3374C53A-CA14-448E-8865-C881A725BC34}" presName="sibTransComposite" presStyleCnt="0"/>
      <dgm:spPr/>
    </dgm:pt>
    <dgm:pt modelId="{00534329-3601-FD4C-9B67-B4714E762A38}" type="pres">
      <dgm:prSet presAssocID="{D51FC8A9-C283-40A5-8D4D-46925C1D50F1}" presName="compositeNode" presStyleCnt="0"/>
      <dgm:spPr/>
    </dgm:pt>
    <dgm:pt modelId="{393945D2-67F7-894C-A119-886BFF0E8879}" type="pres">
      <dgm:prSet presAssocID="{D51FC8A9-C283-40A5-8D4D-46925C1D50F1}" presName="parTx" presStyleLbl="node1" presStyleIdx="0" presStyleCnt="0">
        <dgm:presLayoutVars>
          <dgm:chMax val="0"/>
          <dgm:chPref val="0"/>
          <dgm:bulletEnabled val="1"/>
        </dgm:presLayoutVars>
      </dgm:prSet>
      <dgm:spPr/>
    </dgm:pt>
    <dgm:pt modelId="{BEFC0B44-69C5-A74E-A32A-A9A8E585FBF3}" type="pres">
      <dgm:prSet presAssocID="{D51FC8A9-C283-40A5-8D4D-46925C1D50F1}" presName="parSh" presStyleCnt="0"/>
      <dgm:spPr/>
    </dgm:pt>
    <dgm:pt modelId="{B8265BA7-048D-5745-BACC-04AE5B174232}" type="pres">
      <dgm:prSet presAssocID="{D51FC8A9-C283-40A5-8D4D-46925C1D50F1}" presName="lineNode" presStyleLbl="alignAccFollowNode1" presStyleIdx="9" presStyleCnt="12"/>
      <dgm:spPr/>
    </dgm:pt>
    <dgm:pt modelId="{E9963330-1754-7B42-850A-1D461650DD64}" type="pres">
      <dgm:prSet presAssocID="{D51FC8A9-C283-40A5-8D4D-46925C1D50F1}" presName="lineArrowNode" presStyleLbl="alignAccFollowNode1" presStyleIdx="10" presStyleCnt="12"/>
      <dgm:spPr/>
    </dgm:pt>
    <dgm:pt modelId="{D7E6458A-A1FD-3642-98D1-8F61E4ADDBD0}" type="pres">
      <dgm:prSet presAssocID="{D171BB34-7410-4B3E-8AB0-B812B8B3D1F1}" presName="sibTransNodeCircle" presStyleLbl="alignNode1" presStyleIdx="3" presStyleCnt="4">
        <dgm:presLayoutVars>
          <dgm:chMax val="0"/>
          <dgm:bulletEnabled/>
        </dgm:presLayoutVars>
      </dgm:prSet>
      <dgm:spPr/>
    </dgm:pt>
    <dgm:pt modelId="{A9AFFDD5-D33A-284C-A4D9-8B6EC6932AE3}" type="pres">
      <dgm:prSet presAssocID="{D171BB34-7410-4B3E-8AB0-B812B8B3D1F1}" presName="spacerBetweenCircleAndCallout" presStyleCnt="0">
        <dgm:presLayoutVars/>
      </dgm:prSet>
      <dgm:spPr/>
    </dgm:pt>
    <dgm:pt modelId="{E8D5FAE7-BB64-3144-A273-8FF8E19E6E8C}" type="pres">
      <dgm:prSet presAssocID="{D51FC8A9-C283-40A5-8D4D-46925C1D50F1}" presName="nodeText" presStyleLbl="alignAccFollowNode1" presStyleIdx="11" presStyleCnt="12">
        <dgm:presLayoutVars>
          <dgm:bulletEnabled val="1"/>
        </dgm:presLayoutVars>
      </dgm:prSet>
      <dgm:spPr/>
    </dgm:pt>
  </dgm:ptLst>
  <dgm:cxnLst>
    <dgm:cxn modelId="{2D842E03-F656-524B-B426-FDF5220316D6}" srcId="{BC537E04-6915-4A08-9021-6EF5961CED4B}" destId="{B9F33426-DFAB-6040-899F-BB2D035354D4}" srcOrd="0" destOrd="0" parTransId="{5143ED40-5890-CE4D-AFA1-D0E447C715C7}" sibTransId="{EE426167-F1B7-B64D-B84A-9C5867C59004}"/>
    <dgm:cxn modelId="{6B7F2613-8144-BD4E-8728-C34D68B1CF36}" type="presOf" srcId="{86949930-3AE3-4370-894A-EE269DCA1F2A}" destId="{E0C70099-C20C-A74C-BDCA-329773ECDABB}" srcOrd="0" destOrd="0" presId="urn:microsoft.com/office/officeart/2016/7/layout/LinearArrowProcessNumbered"/>
    <dgm:cxn modelId="{006F0318-13E8-E348-95C0-65ABE816E367}" type="presOf" srcId="{3374C53A-CA14-448E-8865-C881A725BC34}" destId="{7163A0B3-75A1-C046-9E01-C6A2BC7B9E2E}" srcOrd="0" destOrd="0" presId="urn:microsoft.com/office/officeart/2016/7/layout/LinearArrowProcessNumbered"/>
    <dgm:cxn modelId="{DC1E651B-6B60-FF4E-978C-5ABA3570CC58}" type="presOf" srcId="{47072180-8A6E-469A-AF4F-D8759EAC650F}" destId="{D8F2A813-4057-EB4B-AFAE-EED05B042501}" srcOrd="0" destOrd="0" presId="urn:microsoft.com/office/officeart/2016/7/layout/LinearArrowProcessNumbered"/>
    <dgm:cxn modelId="{1DC5581F-B09B-6749-85E2-7A1E8872B0BD}" srcId="{C9B53C4A-E6AA-4244-A5B4-5CB398E29338}" destId="{25C7007C-8998-714B-993A-405437417BDD}" srcOrd="0" destOrd="0" parTransId="{C2E6AC6E-701D-7148-80BA-059172F56ED0}" sibTransId="{26E45F1C-811E-1F46-A742-39A9490A21FA}"/>
    <dgm:cxn modelId="{B018942C-E1FD-49B8-ACA5-6725CD3D9FC8}" srcId="{CD45E580-FB3A-403D-BD00-451D286CF8C1}" destId="{86949930-3AE3-4370-894A-EE269DCA1F2A}" srcOrd="2" destOrd="0" parTransId="{A743F047-CC9B-463A-9742-B43682128963}" sibTransId="{3374C53A-CA14-448E-8865-C881A725BC34}"/>
    <dgm:cxn modelId="{24E29F39-F3D3-324E-9C78-3873C0F734E3}" type="presOf" srcId="{C9B53C4A-E6AA-4244-A5B4-5CB398E29338}" destId="{1E95D674-8448-7347-BF86-6A508954D6BD}" srcOrd="0" destOrd="0" presId="urn:microsoft.com/office/officeart/2016/7/layout/LinearArrowProcessNumbered"/>
    <dgm:cxn modelId="{B8D8FB46-0DA6-49A5-A3DA-101ACB110AD1}" srcId="{CD45E580-FB3A-403D-BD00-451D286CF8C1}" destId="{BC537E04-6915-4A08-9021-6EF5961CED4B}" srcOrd="0" destOrd="0" parTransId="{4F27E471-2E35-4DCD-BFB7-D893E0D2A79D}" sibTransId="{CF5D4852-0BD2-437A-B943-C9412BBD5A17}"/>
    <dgm:cxn modelId="{53627F5D-E22A-4573-93B6-483EAA80E516}" srcId="{CD45E580-FB3A-403D-BD00-451D286CF8C1}" destId="{D51FC8A9-C283-40A5-8D4D-46925C1D50F1}" srcOrd="3" destOrd="0" parTransId="{BB0BF5CA-94E1-4456-A0C2-6C4B506AA734}" sibTransId="{D171BB34-7410-4B3E-8AB0-B812B8B3D1F1}"/>
    <dgm:cxn modelId="{748EB07D-EFD9-7C4D-A5EC-CA03B350AF66}" type="presOf" srcId="{D51FC8A9-C283-40A5-8D4D-46925C1D50F1}" destId="{E8D5FAE7-BB64-3144-A273-8FF8E19E6E8C}" srcOrd="0" destOrd="0" presId="urn:microsoft.com/office/officeart/2016/7/layout/LinearArrowProcessNumbered"/>
    <dgm:cxn modelId="{199C5B84-98D9-504F-8C56-4190C7AB928C}" type="presOf" srcId="{25C7007C-8998-714B-993A-405437417BDD}" destId="{1E95D674-8448-7347-BF86-6A508954D6BD}" srcOrd="0" destOrd="1" presId="urn:microsoft.com/office/officeart/2016/7/layout/LinearArrowProcessNumbered"/>
    <dgm:cxn modelId="{A202D388-5FB4-764E-8D0A-45087DEEB7CD}" type="presOf" srcId="{B9F33426-DFAB-6040-899F-BB2D035354D4}" destId="{CE4741A4-458E-8C4E-ADCA-0F010730E4D9}" srcOrd="0" destOrd="1" presId="urn:microsoft.com/office/officeart/2016/7/layout/LinearArrowProcessNumbered"/>
    <dgm:cxn modelId="{E1036789-B125-406A-9426-6A19660DF23B}" srcId="{CD45E580-FB3A-403D-BD00-451D286CF8C1}" destId="{C9B53C4A-E6AA-4244-A5B4-5CB398E29338}" srcOrd="1" destOrd="0" parTransId="{0ABBEB0C-434E-4132-AF56-3DF979FBC3AE}" sibTransId="{47072180-8A6E-469A-AF4F-D8759EAC650F}"/>
    <dgm:cxn modelId="{570D738C-A6DD-6248-8576-081CC77207A5}" srcId="{D51FC8A9-C283-40A5-8D4D-46925C1D50F1}" destId="{985F14D0-C7A2-0749-8DBB-959639C6578D}" srcOrd="0" destOrd="0" parTransId="{7AE9CD23-4A50-AD40-A584-99CC030CB6F8}" sibTransId="{EF30C3B4-8863-A349-B8F9-5B54E43AEE70}"/>
    <dgm:cxn modelId="{38644990-8604-9A4F-91B5-F112784F8648}" type="presOf" srcId="{B6B0C722-AF82-244D-AC71-10AC576679D6}" destId="{E0C70099-C20C-A74C-BDCA-329773ECDABB}" srcOrd="0" destOrd="1" presId="urn:microsoft.com/office/officeart/2016/7/layout/LinearArrowProcessNumbered"/>
    <dgm:cxn modelId="{8791ED92-FF02-6749-A589-F96130E0AAB7}" type="presOf" srcId="{CD45E580-FB3A-403D-BD00-451D286CF8C1}" destId="{4B8C27FD-30F1-8348-8B16-27DCCA353838}" srcOrd="0" destOrd="0" presId="urn:microsoft.com/office/officeart/2016/7/layout/LinearArrowProcessNumbered"/>
    <dgm:cxn modelId="{6098C89D-9828-9142-B1E1-770CDE5FA4EE}" type="presOf" srcId="{985F14D0-C7A2-0749-8DBB-959639C6578D}" destId="{E8D5FAE7-BB64-3144-A273-8FF8E19E6E8C}" srcOrd="0" destOrd="1" presId="urn:microsoft.com/office/officeart/2016/7/layout/LinearArrowProcessNumbered"/>
    <dgm:cxn modelId="{82DB90C6-B9F2-1040-814F-AEDC3101803A}" type="presOf" srcId="{52E295C7-AE38-43A3-829D-C94922D409EB}" destId="{1E95D674-8448-7347-BF86-6A508954D6BD}" srcOrd="0" destOrd="2" presId="urn:microsoft.com/office/officeart/2016/7/layout/LinearArrowProcessNumbered"/>
    <dgm:cxn modelId="{F3E7EFCC-3572-4446-A0D1-A15CCF8D1FCD}" srcId="{C9B53C4A-E6AA-4244-A5B4-5CB398E29338}" destId="{52E295C7-AE38-43A3-829D-C94922D409EB}" srcOrd="1" destOrd="0" parTransId="{BA538BC1-0B53-489C-A441-3ED335AD048D}" sibTransId="{C2346876-8078-43C4-AC05-6D9C6EEDE881}"/>
    <dgm:cxn modelId="{56BD96D4-545F-5D44-90D1-B264D3045915}" srcId="{86949930-3AE3-4370-894A-EE269DCA1F2A}" destId="{B6B0C722-AF82-244D-AC71-10AC576679D6}" srcOrd="0" destOrd="0" parTransId="{8A0E7866-B9F2-484C-9721-231A873C0C8C}" sibTransId="{DE3BF147-1779-E54E-B12F-FAAF96AB00AF}"/>
    <dgm:cxn modelId="{497D08DB-09CD-BF40-AC1A-3CFB485F29D8}" type="presOf" srcId="{CF5D4852-0BD2-437A-B943-C9412BBD5A17}" destId="{C911045C-E623-3C4F-AF98-B11DCDBAB278}" srcOrd="0" destOrd="0" presId="urn:microsoft.com/office/officeart/2016/7/layout/LinearArrowProcessNumbered"/>
    <dgm:cxn modelId="{DDEED3DD-CE2B-DA4A-B657-569FD1184F6D}" type="presOf" srcId="{BC537E04-6915-4A08-9021-6EF5961CED4B}" destId="{CE4741A4-458E-8C4E-ADCA-0F010730E4D9}" srcOrd="0" destOrd="0" presId="urn:microsoft.com/office/officeart/2016/7/layout/LinearArrowProcessNumbered"/>
    <dgm:cxn modelId="{CF600DF7-8FE8-744C-84B6-B98C74D1CE83}" type="presOf" srcId="{D171BB34-7410-4B3E-8AB0-B812B8B3D1F1}" destId="{D7E6458A-A1FD-3642-98D1-8F61E4ADDBD0}" srcOrd="0" destOrd="0" presId="urn:microsoft.com/office/officeart/2016/7/layout/LinearArrowProcessNumbered"/>
    <dgm:cxn modelId="{FDC9C157-72A8-D948-9C13-48D1A6E26C55}" type="presParOf" srcId="{4B8C27FD-30F1-8348-8B16-27DCCA353838}" destId="{B3B3E009-156F-9046-B4AA-38C0408BA2E9}" srcOrd="0" destOrd="0" presId="urn:microsoft.com/office/officeart/2016/7/layout/LinearArrowProcessNumbered"/>
    <dgm:cxn modelId="{E444E9D0-E179-DA40-B9C2-00F84F5EA4DE}" type="presParOf" srcId="{B3B3E009-156F-9046-B4AA-38C0408BA2E9}" destId="{6F7E063A-C144-1B41-87CC-53949EE09508}" srcOrd="0" destOrd="0" presId="urn:microsoft.com/office/officeart/2016/7/layout/LinearArrowProcessNumbered"/>
    <dgm:cxn modelId="{6AC13F97-F2A6-1B4A-9751-2FBA5AD422C4}" type="presParOf" srcId="{B3B3E009-156F-9046-B4AA-38C0408BA2E9}" destId="{5B4DB289-89CB-AF44-AC3D-2C2D7457798A}" srcOrd="1" destOrd="0" presId="urn:microsoft.com/office/officeart/2016/7/layout/LinearArrowProcessNumbered"/>
    <dgm:cxn modelId="{D8655D08-7784-8F4D-8C0C-6BBDACBD2DD8}" type="presParOf" srcId="{5B4DB289-89CB-AF44-AC3D-2C2D7457798A}" destId="{8C90E9E2-86DF-A24F-ACBA-32117FB2ADE7}" srcOrd="0" destOrd="0" presId="urn:microsoft.com/office/officeart/2016/7/layout/LinearArrowProcessNumbered"/>
    <dgm:cxn modelId="{C7211D79-1488-EC49-93E2-64A84B9987CA}" type="presParOf" srcId="{5B4DB289-89CB-AF44-AC3D-2C2D7457798A}" destId="{A8FFEF79-6CE8-8D49-9E19-7696C0D67658}" srcOrd="1" destOrd="0" presId="urn:microsoft.com/office/officeart/2016/7/layout/LinearArrowProcessNumbered"/>
    <dgm:cxn modelId="{D8CC0A22-3A58-6F4A-B1A9-13EC0C3AF692}" type="presParOf" srcId="{5B4DB289-89CB-AF44-AC3D-2C2D7457798A}" destId="{C911045C-E623-3C4F-AF98-B11DCDBAB278}" srcOrd="2" destOrd="0" presId="urn:microsoft.com/office/officeart/2016/7/layout/LinearArrowProcessNumbered"/>
    <dgm:cxn modelId="{D518BB64-4B5A-B64B-B69F-94E396FE160D}" type="presParOf" srcId="{5B4DB289-89CB-AF44-AC3D-2C2D7457798A}" destId="{3049FEBD-A1C9-A940-8B23-C75EB6732FC8}" srcOrd="3" destOrd="0" presId="urn:microsoft.com/office/officeart/2016/7/layout/LinearArrowProcessNumbered"/>
    <dgm:cxn modelId="{62876C3F-A860-FB4F-AE2C-7FF54BE49CEA}" type="presParOf" srcId="{B3B3E009-156F-9046-B4AA-38C0408BA2E9}" destId="{CE4741A4-458E-8C4E-ADCA-0F010730E4D9}" srcOrd="2" destOrd="0" presId="urn:microsoft.com/office/officeart/2016/7/layout/LinearArrowProcessNumbered"/>
    <dgm:cxn modelId="{F99FB226-EABD-2548-A3D3-C71004F55D48}" type="presParOf" srcId="{4B8C27FD-30F1-8348-8B16-27DCCA353838}" destId="{C64BA9B3-6625-E245-A4F2-4534868580C4}" srcOrd="1" destOrd="0" presId="urn:microsoft.com/office/officeart/2016/7/layout/LinearArrowProcessNumbered"/>
    <dgm:cxn modelId="{D6F14BDF-4A7E-A345-9903-547B909DB741}" type="presParOf" srcId="{4B8C27FD-30F1-8348-8B16-27DCCA353838}" destId="{31892A87-6D72-AC46-A4A8-CF8122F12C53}" srcOrd="2" destOrd="0" presId="urn:microsoft.com/office/officeart/2016/7/layout/LinearArrowProcessNumbered"/>
    <dgm:cxn modelId="{33F64010-A34B-A848-B094-CEA55DC2CA59}" type="presParOf" srcId="{31892A87-6D72-AC46-A4A8-CF8122F12C53}" destId="{5E69318B-E9D2-7D44-B223-157F918AA9CB}" srcOrd="0" destOrd="0" presId="urn:microsoft.com/office/officeart/2016/7/layout/LinearArrowProcessNumbered"/>
    <dgm:cxn modelId="{3623E200-DCF6-884F-99C5-0C3B251E7374}" type="presParOf" srcId="{31892A87-6D72-AC46-A4A8-CF8122F12C53}" destId="{9A7675B0-5D9E-604D-9DA3-63EF44A0ECAB}" srcOrd="1" destOrd="0" presId="urn:microsoft.com/office/officeart/2016/7/layout/LinearArrowProcessNumbered"/>
    <dgm:cxn modelId="{C1CEEEFB-7C41-1F43-8AFE-D7D8B07843C6}" type="presParOf" srcId="{9A7675B0-5D9E-604D-9DA3-63EF44A0ECAB}" destId="{37F96BF3-CB19-C946-95A6-B89F093FF83C}" srcOrd="0" destOrd="0" presId="urn:microsoft.com/office/officeart/2016/7/layout/LinearArrowProcessNumbered"/>
    <dgm:cxn modelId="{67FC757F-180F-1443-BCF1-AAC74EF1F8C4}" type="presParOf" srcId="{9A7675B0-5D9E-604D-9DA3-63EF44A0ECAB}" destId="{A6C373DA-2469-434B-801E-8BB6459FE297}" srcOrd="1" destOrd="0" presId="urn:microsoft.com/office/officeart/2016/7/layout/LinearArrowProcessNumbered"/>
    <dgm:cxn modelId="{1F4F5118-73C6-E942-9FD5-70CB61BC8C7F}" type="presParOf" srcId="{9A7675B0-5D9E-604D-9DA3-63EF44A0ECAB}" destId="{D8F2A813-4057-EB4B-AFAE-EED05B042501}" srcOrd="2" destOrd="0" presId="urn:microsoft.com/office/officeart/2016/7/layout/LinearArrowProcessNumbered"/>
    <dgm:cxn modelId="{0FD73918-A9F6-2A4A-B6FF-9272147FD92C}" type="presParOf" srcId="{9A7675B0-5D9E-604D-9DA3-63EF44A0ECAB}" destId="{EC2605E0-FE09-1341-95F2-F09C0DB487D3}" srcOrd="3" destOrd="0" presId="urn:microsoft.com/office/officeart/2016/7/layout/LinearArrowProcessNumbered"/>
    <dgm:cxn modelId="{D071363A-9C2D-8749-96E0-641146EFADEA}" type="presParOf" srcId="{31892A87-6D72-AC46-A4A8-CF8122F12C53}" destId="{1E95D674-8448-7347-BF86-6A508954D6BD}" srcOrd="2" destOrd="0" presId="urn:microsoft.com/office/officeart/2016/7/layout/LinearArrowProcessNumbered"/>
    <dgm:cxn modelId="{632EDE0E-3006-5543-8A44-87F25B8CF01D}" type="presParOf" srcId="{4B8C27FD-30F1-8348-8B16-27DCCA353838}" destId="{6E88666F-6E93-434B-8AC1-EAA1AE356035}" srcOrd="3" destOrd="0" presId="urn:microsoft.com/office/officeart/2016/7/layout/LinearArrowProcessNumbered"/>
    <dgm:cxn modelId="{57AFF535-54A7-E74B-A336-5D4F92B8DFE0}" type="presParOf" srcId="{4B8C27FD-30F1-8348-8B16-27DCCA353838}" destId="{5D02563E-9984-9D40-B713-2D490AD23944}" srcOrd="4" destOrd="0" presId="urn:microsoft.com/office/officeart/2016/7/layout/LinearArrowProcessNumbered"/>
    <dgm:cxn modelId="{41127BF4-C267-9A4A-8CD9-AF85AF00B81D}" type="presParOf" srcId="{5D02563E-9984-9D40-B713-2D490AD23944}" destId="{27900CAB-37CD-8641-B96A-564F5B71A624}" srcOrd="0" destOrd="0" presId="urn:microsoft.com/office/officeart/2016/7/layout/LinearArrowProcessNumbered"/>
    <dgm:cxn modelId="{34E1D511-44CE-1445-A264-AEDC2BD496CB}" type="presParOf" srcId="{5D02563E-9984-9D40-B713-2D490AD23944}" destId="{2BC6022B-167C-554E-882B-665408613576}" srcOrd="1" destOrd="0" presId="urn:microsoft.com/office/officeart/2016/7/layout/LinearArrowProcessNumbered"/>
    <dgm:cxn modelId="{6E35334E-9034-704D-8BC2-C2FE142D35D3}" type="presParOf" srcId="{2BC6022B-167C-554E-882B-665408613576}" destId="{F87B208D-E0CB-C243-9890-193658DBFF32}" srcOrd="0" destOrd="0" presId="urn:microsoft.com/office/officeart/2016/7/layout/LinearArrowProcessNumbered"/>
    <dgm:cxn modelId="{F182154F-412B-7947-89BC-FEC8B409F8DE}" type="presParOf" srcId="{2BC6022B-167C-554E-882B-665408613576}" destId="{441BFDDB-6924-344A-B069-D8E5B6AB1DD7}" srcOrd="1" destOrd="0" presId="urn:microsoft.com/office/officeart/2016/7/layout/LinearArrowProcessNumbered"/>
    <dgm:cxn modelId="{5E7328D7-1A2D-7648-B194-FAE73A2986D7}" type="presParOf" srcId="{2BC6022B-167C-554E-882B-665408613576}" destId="{7163A0B3-75A1-C046-9E01-C6A2BC7B9E2E}" srcOrd="2" destOrd="0" presId="urn:microsoft.com/office/officeart/2016/7/layout/LinearArrowProcessNumbered"/>
    <dgm:cxn modelId="{5A55098E-60F9-7440-8D8B-8C7A48FD0860}" type="presParOf" srcId="{2BC6022B-167C-554E-882B-665408613576}" destId="{75E0066B-42CB-3F40-A404-532DD8995847}" srcOrd="3" destOrd="0" presId="urn:microsoft.com/office/officeart/2016/7/layout/LinearArrowProcessNumbered"/>
    <dgm:cxn modelId="{20CD2922-54EC-1946-9ECC-E47A9060D977}" type="presParOf" srcId="{5D02563E-9984-9D40-B713-2D490AD23944}" destId="{E0C70099-C20C-A74C-BDCA-329773ECDABB}" srcOrd="2" destOrd="0" presId="urn:microsoft.com/office/officeart/2016/7/layout/LinearArrowProcessNumbered"/>
    <dgm:cxn modelId="{899E9559-7C1A-6842-A4B7-1AE0BA42E4BD}" type="presParOf" srcId="{4B8C27FD-30F1-8348-8B16-27DCCA353838}" destId="{936CAF04-7CFD-0149-B8E8-94C7DDF72EE7}" srcOrd="5" destOrd="0" presId="urn:microsoft.com/office/officeart/2016/7/layout/LinearArrowProcessNumbered"/>
    <dgm:cxn modelId="{7B4DEC31-0D38-8D40-AB54-56C369BCEAE7}" type="presParOf" srcId="{4B8C27FD-30F1-8348-8B16-27DCCA353838}" destId="{00534329-3601-FD4C-9B67-B4714E762A38}" srcOrd="6" destOrd="0" presId="urn:microsoft.com/office/officeart/2016/7/layout/LinearArrowProcessNumbered"/>
    <dgm:cxn modelId="{49EE1AA9-8F15-2341-80A9-B967FE5D2ED7}" type="presParOf" srcId="{00534329-3601-FD4C-9B67-B4714E762A38}" destId="{393945D2-67F7-894C-A119-886BFF0E8879}" srcOrd="0" destOrd="0" presId="urn:microsoft.com/office/officeart/2016/7/layout/LinearArrowProcessNumbered"/>
    <dgm:cxn modelId="{950E1E3E-7214-A14E-912C-ABFC4E2F6894}" type="presParOf" srcId="{00534329-3601-FD4C-9B67-B4714E762A38}" destId="{BEFC0B44-69C5-A74E-A32A-A9A8E585FBF3}" srcOrd="1" destOrd="0" presId="urn:microsoft.com/office/officeart/2016/7/layout/LinearArrowProcessNumbered"/>
    <dgm:cxn modelId="{0A3F0376-AE48-834E-8171-7D56A91C99F9}" type="presParOf" srcId="{BEFC0B44-69C5-A74E-A32A-A9A8E585FBF3}" destId="{B8265BA7-048D-5745-BACC-04AE5B174232}" srcOrd="0" destOrd="0" presId="urn:microsoft.com/office/officeart/2016/7/layout/LinearArrowProcessNumbered"/>
    <dgm:cxn modelId="{F8CC3387-6638-3442-891B-65103936B3C9}" type="presParOf" srcId="{BEFC0B44-69C5-A74E-A32A-A9A8E585FBF3}" destId="{E9963330-1754-7B42-850A-1D461650DD64}" srcOrd="1" destOrd="0" presId="urn:microsoft.com/office/officeart/2016/7/layout/LinearArrowProcessNumbered"/>
    <dgm:cxn modelId="{38FF1A7C-7962-4C4A-A29B-DC81E8BB6BF5}" type="presParOf" srcId="{BEFC0B44-69C5-A74E-A32A-A9A8E585FBF3}" destId="{D7E6458A-A1FD-3642-98D1-8F61E4ADDBD0}" srcOrd="2" destOrd="0" presId="urn:microsoft.com/office/officeart/2016/7/layout/LinearArrowProcessNumbered"/>
    <dgm:cxn modelId="{4FBD7494-37BC-834D-AE3D-1D0D425C080B}" type="presParOf" srcId="{BEFC0B44-69C5-A74E-A32A-A9A8E585FBF3}" destId="{A9AFFDD5-D33A-284C-A4D9-8B6EC6932AE3}" srcOrd="3" destOrd="0" presId="urn:microsoft.com/office/officeart/2016/7/layout/LinearArrowProcessNumbered"/>
    <dgm:cxn modelId="{6828E3D9-E182-D448-8C6B-B83268E205EB}" type="presParOf" srcId="{00534329-3601-FD4C-9B67-B4714E762A38}" destId="{E8D5FAE7-BB64-3144-A273-8FF8E19E6E8C}" srcOrd="2" destOrd="0" presId="urn:microsoft.com/office/officeart/2016/7/layout/LinearArrowProcessNumbered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05E1F67-62E9-4745-849D-B4A627A3F686}">
      <dsp:nvSpPr>
        <dsp:cNvPr id="0" name=""/>
        <dsp:cNvSpPr/>
      </dsp:nvSpPr>
      <dsp:spPr>
        <a:xfrm>
          <a:off x="0" y="429590"/>
          <a:ext cx="4948238" cy="1474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4038" tIns="270764" rIns="384038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 dirty="0"/>
            <a:t>Keep code cleaner than you found it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If you are working on a method that has technical dept clean it up</a:t>
          </a:r>
          <a:endParaRPr lang="en-US" sz="1300" kern="120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While you are at it, clean up the surrounding levels</a:t>
          </a:r>
          <a:endParaRPr lang="en-US" sz="1300" kern="120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 dirty="0"/>
            <a:t>Make sure new code is always clean</a:t>
          </a:r>
          <a:endParaRPr lang="en-US" sz="1300" kern="1200" dirty="0"/>
        </a:p>
      </dsp:txBody>
      <dsp:txXfrm>
        <a:off x="0" y="429590"/>
        <a:ext cx="4948238" cy="1474199"/>
      </dsp:txXfrm>
    </dsp:sp>
    <dsp:sp modelId="{42A052A9-69EA-E345-9B7E-33D4E7C0DC98}">
      <dsp:nvSpPr>
        <dsp:cNvPr id="0" name=""/>
        <dsp:cNvSpPr/>
      </dsp:nvSpPr>
      <dsp:spPr>
        <a:xfrm>
          <a:off x="247411" y="237710"/>
          <a:ext cx="3463766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0922" tIns="0" rIns="130922" bIns="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/>
            <a:t>Boy Scout Rule</a:t>
          </a:r>
          <a:endParaRPr lang="en-US" sz="1300" kern="1200"/>
        </a:p>
      </dsp:txBody>
      <dsp:txXfrm>
        <a:off x="266145" y="256444"/>
        <a:ext cx="3426298" cy="346292"/>
      </dsp:txXfrm>
    </dsp:sp>
    <dsp:sp modelId="{3AF87211-E86A-0744-95E3-8A6FAAEAD6D8}">
      <dsp:nvSpPr>
        <dsp:cNvPr id="0" name=""/>
        <dsp:cNvSpPr/>
      </dsp:nvSpPr>
      <dsp:spPr>
        <a:xfrm>
          <a:off x="0" y="2165871"/>
          <a:ext cx="4948238" cy="100327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4038" tIns="270764" rIns="384038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Create an own file for multi-threaded code</a:t>
          </a:r>
          <a:endParaRPr lang="en-US" sz="1300" kern="120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 dirty="0"/>
            <a:t>Call clarify it by the class and method names like </a:t>
          </a:r>
          <a:r>
            <a:rPr lang="en-GB" sz="1300" kern="1200" dirty="0" err="1"/>
            <a:t>FileLoaderAsync</a:t>
          </a:r>
          <a:r>
            <a:rPr lang="en-GB" sz="1300" kern="1200" dirty="0"/>
            <a:t> </a:t>
          </a:r>
          <a:r>
            <a:rPr lang="en-GB" sz="1300" kern="1200" dirty="0" err="1"/>
            <a:t>loadFilesAsync</a:t>
          </a:r>
          <a:r>
            <a:rPr lang="en-GB" sz="1300" kern="1200" dirty="0"/>
            <a:t>()</a:t>
          </a:r>
          <a:endParaRPr lang="en-US" sz="1300" kern="1200" dirty="0"/>
        </a:p>
      </dsp:txBody>
      <dsp:txXfrm>
        <a:off x="0" y="2165871"/>
        <a:ext cx="4948238" cy="1003275"/>
      </dsp:txXfrm>
    </dsp:sp>
    <dsp:sp modelId="{B2674854-235F-8549-8C48-9332DE213827}">
      <dsp:nvSpPr>
        <dsp:cNvPr id="0" name=""/>
        <dsp:cNvSpPr/>
      </dsp:nvSpPr>
      <dsp:spPr>
        <a:xfrm>
          <a:off x="247411" y="1973990"/>
          <a:ext cx="3463766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0922" tIns="0" rIns="130922" bIns="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/>
            <a:t>Separate and Clarify Multi-Threaded Code</a:t>
          </a:r>
          <a:endParaRPr lang="en-US" sz="1300" kern="1200"/>
        </a:p>
      </dsp:txBody>
      <dsp:txXfrm>
        <a:off x="266145" y="1992724"/>
        <a:ext cx="3426298" cy="346292"/>
      </dsp:txXfrm>
    </dsp:sp>
    <dsp:sp modelId="{7335DB65-2306-6545-BA74-2B0518DBEDE0}">
      <dsp:nvSpPr>
        <dsp:cNvPr id="0" name=""/>
        <dsp:cNvSpPr/>
      </dsp:nvSpPr>
      <dsp:spPr>
        <a:xfrm>
          <a:off x="0" y="3431226"/>
          <a:ext cx="4948238" cy="12285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4038" tIns="270764" rIns="384038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Don’t drop exceptions</a:t>
          </a:r>
          <a:endParaRPr lang="en-US" sz="1300" kern="120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Catch exceptions as specific as possible</a:t>
          </a:r>
          <a:endParaRPr lang="en-US" sz="1300" kern="120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If you can’t catch a specific exception, catch the broad exception in the upper stack chain</a:t>
          </a:r>
          <a:endParaRPr lang="en-US" sz="1300" kern="1200"/>
        </a:p>
      </dsp:txBody>
      <dsp:txXfrm>
        <a:off x="0" y="3431226"/>
        <a:ext cx="4948238" cy="1228500"/>
      </dsp:txXfrm>
    </dsp:sp>
    <dsp:sp modelId="{1528169B-D5DC-3548-8836-02BFA4005ECF}">
      <dsp:nvSpPr>
        <dsp:cNvPr id="0" name=""/>
        <dsp:cNvSpPr/>
      </dsp:nvSpPr>
      <dsp:spPr>
        <a:xfrm>
          <a:off x="247411" y="3239346"/>
          <a:ext cx="3463766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0922" tIns="0" rIns="130922" bIns="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/>
            <a:t>Exception Handling</a:t>
          </a:r>
          <a:endParaRPr lang="en-US" sz="1300" kern="1200"/>
        </a:p>
      </dsp:txBody>
      <dsp:txXfrm>
        <a:off x="266145" y="3258080"/>
        <a:ext cx="3426298" cy="3462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05E1F67-62E9-4745-849D-B4A627A3F686}">
      <dsp:nvSpPr>
        <dsp:cNvPr id="0" name=""/>
        <dsp:cNvSpPr/>
      </dsp:nvSpPr>
      <dsp:spPr>
        <a:xfrm>
          <a:off x="0" y="1169762"/>
          <a:ext cx="4948238" cy="192464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4038" tIns="270764" rIns="384038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Living Documentation (review it and make sure it is up to date)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Understand business requirements</a:t>
          </a:r>
          <a:endParaRPr lang="en-GB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Technical Debt Log</a:t>
          </a:r>
          <a:endParaRPr lang="en-GB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Refactor regularly	</a:t>
          </a:r>
          <a:endParaRPr lang="en-GB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Coding Standards</a:t>
          </a:r>
          <a:endParaRPr lang="en-GB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 dirty="0"/>
            <a:t>Code Reviews</a:t>
          </a:r>
        </a:p>
      </dsp:txBody>
      <dsp:txXfrm>
        <a:off x="0" y="1169762"/>
        <a:ext cx="4948238" cy="1924649"/>
      </dsp:txXfrm>
    </dsp:sp>
    <dsp:sp modelId="{42A052A9-69EA-E345-9B7E-33D4E7C0DC98}">
      <dsp:nvSpPr>
        <dsp:cNvPr id="0" name=""/>
        <dsp:cNvSpPr/>
      </dsp:nvSpPr>
      <dsp:spPr>
        <a:xfrm>
          <a:off x="247411" y="977882"/>
          <a:ext cx="3463766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0922" tIns="0" rIns="130922" bIns="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 dirty="0"/>
            <a:t>Processes that Support Clean Code</a:t>
          </a:r>
          <a:endParaRPr lang="en-US" sz="1300" kern="1200" dirty="0"/>
        </a:p>
      </dsp:txBody>
      <dsp:txXfrm>
        <a:off x="266145" y="996616"/>
        <a:ext cx="3426298" cy="346292"/>
      </dsp:txXfrm>
    </dsp:sp>
    <dsp:sp modelId="{3AF87211-E86A-0744-95E3-8A6FAAEAD6D8}">
      <dsp:nvSpPr>
        <dsp:cNvPr id="0" name=""/>
        <dsp:cNvSpPr/>
      </dsp:nvSpPr>
      <dsp:spPr>
        <a:xfrm>
          <a:off x="0" y="3356492"/>
          <a:ext cx="4948238" cy="563062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4038" tIns="270764" rIns="384038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 dirty="0"/>
            <a:t>Everybody holds everyone accountable</a:t>
          </a:r>
          <a:endParaRPr lang="en-US" sz="1300" kern="1200" dirty="0"/>
        </a:p>
      </dsp:txBody>
      <dsp:txXfrm>
        <a:off x="0" y="3356492"/>
        <a:ext cx="4948238" cy="563062"/>
      </dsp:txXfrm>
    </dsp:sp>
    <dsp:sp modelId="{B2674854-235F-8549-8C48-9332DE213827}">
      <dsp:nvSpPr>
        <dsp:cNvPr id="0" name=""/>
        <dsp:cNvSpPr/>
      </dsp:nvSpPr>
      <dsp:spPr>
        <a:xfrm>
          <a:off x="247411" y="3164612"/>
          <a:ext cx="3463766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0922" tIns="0" rIns="130922" bIns="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 dirty="0"/>
            <a:t>Team Structure and Group Responsibility</a:t>
          </a:r>
          <a:endParaRPr lang="en-US" sz="1300" kern="1200" dirty="0"/>
        </a:p>
      </dsp:txBody>
      <dsp:txXfrm>
        <a:off x="266145" y="3183346"/>
        <a:ext cx="3426298" cy="34629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05E1F67-62E9-4745-849D-B4A627A3F686}">
      <dsp:nvSpPr>
        <dsp:cNvPr id="0" name=""/>
        <dsp:cNvSpPr/>
      </dsp:nvSpPr>
      <dsp:spPr>
        <a:xfrm>
          <a:off x="0" y="563008"/>
          <a:ext cx="4948238" cy="192464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4038" tIns="270764" rIns="384038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Documentation is not for you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Code documentation is very specific what happens here</a:t>
          </a:r>
          <a:endParaRPr lang="en-GB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 dirty="0"/>
            <a:t>Documentation helps to better understands what is happening in terms of business AND in the code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 dirty="0"/>
            <a:t>Use automated tool for wikis or documentation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Include exception dependencies</a:t>
          </a:r>
          <a:endParaRPr lang="en-GB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 dirty="0"/>
            <a:t>Especially important when fixes are added</a:t>
          </a:r>
        </a:p>
      </dsp:txBody>
      <dsp:txXfrm>
        <a:off x="0" y="563008"/>
        <a:ext cx="4948238" cy="1924649"/>
      </dsp:txXfrm>
    </dsp:sp>
    <dsp:sp modelId="{42A052A9-69EA-E345-9B7E-33D4E7C0DC98}">
      <dsp:nvSpPr>
        <dsp:cNvPr id="0" name=""/>
        <dsp:cNvSpPr/>
      </dsp:nvSpPr>
      <dsp:spPr>
        <a:xfrm>
          <a:off x="247411" y="235663"/>
          <a:ext cx="3463766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0922" tIns="0" rIns="130922" bIns="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 dirty="0"/>
            <a:t>Documentation</a:t>
          </a:r>
          <a:endParaRPr lang="en-US" sz="1300" kern="1200" dirty="0"/>
        </a:p>
      </dsp:txBody>
      <dsp:txXfrm>
        <a:off x="266145" y="254397"/>
        <a:ext cx="3426298" cy="346292"/>
      </dsp:txXfrm>
    </dsp:sp>
    <dsp:sp modelId="{3AF87211-E86A-0744-95E3-8A6FAAEAD6D8}">
      <dsp:nvSpPr>
        <dsp:cNvPr id="0" name=""/>
        <dsp:cNvSpPr/>
      </dsp:nvSpPr>
      <dsp:spPr>
        <a:xfrm>
          <a:off x="0" y="2614273"/>
          <a:ext cx="4948238" cy="20475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4038" tIns="270764" rIns="384038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 dirty="0"/>
            <a:t>Self-documented code is code that is written in such a way that is easily understood without the need of any documentation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Self-documentation assumes that the reader has all the domain knowledge and understands the business and the rest of the system</a:t>
          </a:r>
          <a:endParaRPr lang="en-GB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 dirty="0"/>
            <a:t>The names and method are all understood and the intention is clear.</a:t>
          </a:r>
        </a:p>
      </dsp:txBody>
      <dsp:txXfrm>
        <a:off x="0" y="2614273"/>
        <a:ext cx="4948238" cy="2047500"/>
      </dsp:txXfrm>
    </dsp:sp>
    <dsp:sp modelId="{B2674854-235F-8549-8C48-9332DE213827}">
      <dsp:nvSpPr>
        <dsp:cNvPr id="0" name=""/>
        <dsp:cNvSpPr/>
      </dsp:nvSpPr>
      <dsp:spPr>
        <a:xfrm>
          <a:off x="247411" y="2422393"/>
          <a:ext cx="3463766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0922" tIns="0" rIns="130922" bIns="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 dirty="0"/>
            <a:t>Does self-documentation code exist?</a:t>
          </a:r>
          <a:endParaRPr lang="en-US" sz="1300" kern="1200" dirty="0"/>
        </a:p>
      </dsp:txBody>
      <dsp:txXfrm>
        <a:off x="266145" y="2441127"/>
        <a:ext cx="3426298" cy="34629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3DC22C-7D2D-9647-9629-362BADE43A1B}">
      <dsp:nvSpPr>
        <dsp:cNvPr id="0" name=""/>
        <dsp:cNvSpPr/>
      </dsp:nvSpPr>
      <dsp:spPr>
        <a:xfrm>
          <a:off x="0" y="601198"/>
          <a:ext cx="4948238" cy="3931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4038" tIns="333248" rIns="384038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b="1" u="none" kern="1200" dirty="0"/>
            <a:t>Small Steps</a:t>
          </a:r>
          <a:endParaRPr lang="en-US" sz="1600" b="1" u="none" kern="1200" dirty="0"/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kern="1200" dirty="0"/>
            <a:t>Isolate changes and keep them small and manageable</a:t>
          </a:r>
          <a:endParaRPr lang="en-US" sz="1600" kern="1200" dirty="0"/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kern="1200" dirty="0"/>
            <a:t>The system should always be able to run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b="1" kern="1200" dirty="0"/>
            <a:t>Test your changes</a:t>
          </a:r>
          <a:endParaRPr lang="en-US" sz="1600" b="1" kern="1200" dirty="0"/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kern="1200" dirty="0"/>
            <a:t>Ideally you would have unit test that verify the functionality. If not create test before you refactoring.</a:t>
          </a:r>
          <a:endParaRPr lang="en-US" sz="1600" kern="1200" dirty="0"/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kern="1200" dirty="0"/>
            <a:t>Verify your changes with appropriate tests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b="1" kern="1200" dirty="0"/>
            <a:t>Automate Test</a:t>
          </a:r>
          <a:endParaRPr lang="en-US" sz="1600" b="1" kern="1200" dirty="0"/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kern="1200" dirty="0"/>
            <a:t>Have different levels of test that run automatically to ensure your refactoring was successful</a:t>
          </a:r>
          <a:endParaRPr lang="en-US" sz="1600" kern="1200" dirty="0"/>
        </a:p>
      </dsp:txBody>
      <dsp:txXfrm>
        <a:off x="0" y="601198"/>
        <a:ext cx="4948238" cy="3931199"/>
      </dsp:txXfrm>
    </dsp:sp>
    <dsp:sp modelId="{79B010BF-6186-344C-9E14-ADF88B99277C}">
      <dsp:nvSpPr>
        <dsp:cNvPr id="0" name=""/>
        <dsp:cNvSpPr/>
      </dsp:nvSpPr>
      <dsp:spPr>
        <a:xfrm>
          <a:off x="247411" y="365038"/>
          <a:ext cx="3463766" cy="4723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0922" tIns="0" rIns="130922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Refactor bad code to clean code</a:t>
          </a:r>
          <a:endParaRPr lang="en-US" sz="1600" kern="1200" dirty="0"/>
        </a:p>
      </dsp:txBody>
      <dsp:txXfrm>
        <a:off x="270468" y="388095"/>
        <a:ext cx="3417652" cy="42620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90E9E2-86DF-A24F-ACBA-32117FB2ADE7}">
      <dsp:nvSpPr>
        <dsp:cNvPr id="0" name=""/>
        <dsp:cNvSpPr/>
      </dsp:nvSpPr>
      <dsp:spPr>
        <a:xfrm>
          <a:off x="680462" y="1383317"/>
          <a:ext cx="542249" cy="71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FFEF79-6CE8-8D49-9E19-7696C0D67658}">
      <dsp:nvSpPr>
        <dsp:cNvPr id="0" name=""/>
        <dsp:cNvSpPr/>
      </dsp:nvSpPr>
      <dsp:spPr>
        <a:xfrm>
          <a:off x="1255246" y="1337726"/>
          <a:ext cx="62358" cy="116908"/>
        </a:xfrm>
        <a:prstGeom prst="chevron">
          <a:avLst>
            <a:gd name="adj" fmla="val 9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911045C-E623-3C4F-AF98-B11DCDBAB278}">
      <dsp:nvSpPr>
        <dsp:cNvPr id="0" name=""/>
        <dsp:cNvSpPr/>
      </dsp:nvSpPr>
      <dsp:spPr>
        <a:xfrm>
          <a:off x="369753" y="1140425"/>
          <a:ext cx="485854" cy="48585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854" tIns="18854" rIns="18854" bIns="18854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1</a:t>
          </a:r>
        </a:p>
      </dsp:txBody>
      <dsp:txXfrm>
        <a:off x="440905" y="1211577"/>
        <a:ext cx="343550" cy="343550"/>
      </dsp:txXfrm>
    </dsp:sp>
    <dsp:sp modelId="{CE4741A4-458E-8C4E-ADCA-0F010730E4D9}">
      <dsp:nvSpPr>
        <dsp:cNvPr id="0" name=""/>
        <dsp:cNvSpPr/>
      </dsp:nvSpPr>
      <dsp:spPr>
        <a:xfrm>
          <a:off x="2650" y="1791820"/>
          <a:ext cx="1220061" cy="1965600"/>
        </a:xfrm>
        <a:prstGeom prst="upArrowCallout">
          <a:avLst>
            <a:gd name="adj1" fmla="val 50000"/>
            <a:gd name="adj2" fmla="val 20000"/>
            <a:gd name="adj3" fmla="val 20000"/>
            <a:gd name="adj4" fmla="val 10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240" tIns="165100" rIns="96240" bIns="16510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/>
            <a:t>Use Boy Scout Rule</a:t>
          </a:r>
          <a:endParaRPr 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 dirty="0"/>
            <a:t> Clean up ethe code you are working on.</a:t>
          </a:r>
        </a:p>
      </dsp:txBody>
      <dsp:txXfrm>
        <a:off x="2650" y="2035832"/>
        <a:ext cx="1220061" cy="1721588"/>
      </dsp:txXfrm>
    </dsp:sp>
    <dsp:sp modelId="{37F96BF3-CB19-C946-95A6-B89F093FF83C}">
      <dsp:nvSpPr>
        <dsp:cNvPr id="0" name=""/>
        <dsp:cNvSpPr/>
      </dsp:nvSpPr>
      <dsp:spPr>
        <a:xfrm>
          <a:off x="1358273" y="1382907"/>
          <a:ext cx="1220061" cy="71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6C373DA-2469-434B-801E-8BB6459FE297}">
      <dsp:nvSpPr>
        <dsp:cNvPr id="0" name=""/>
        <dsp:cNvSpPr/>
      </dsp:nvSpPr>
      <dsp:spPr>
        <a:xfrm>
          <a:off x="2610870" y="1337350"/>
          <a:ext cx="62358" cy="117156"/>
        </a:xfrm>
        <a:prstGeom prst="chevron">
          <a:avLst>
            <a:gd name="adj" fmla="val 9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8F2A813-4057-EB4B-AFAE-EED05B042501}">
      <dsp:nvSpPr>
        <dsp:cNvPr id="0" name=""/>
        <dsp:cNvSpPr/>
      </dsp:nvSpPr>
      <dsp:spPr>
        <a:xfrm>
          <a:off x="1725377" y="1140016"/>
          <a:ext cx="485854" cy="48585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854" tIns="18854" rIns="18854" bIns="18854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2</a:t>
          </a:r>
        </a:p>
      </dsp:txBody>
      <dsp:txXfrm>
        <a:off x="1796529" y="1211168"/>
        <a:ext cx="343550" cy="343550"/>
      </dsp:txXfrm>
    </dsp:sp>
    <dsp:sp modelId="{1E95D674-8448-7347-BF86-6A508954D6BD}">
      <dsp:nvSpPr>
        <dsp:cNvPr id="0" name=""/>
        <dsp:cNvSpPr/>
      </dsp:nvSpPr>
      <dsp:spPr>
        <a:xfrm>
          <a:off x="1358273" y="1791351"/>
          <a:ext cx="1220061" cy="1965600"/>
        </a:xfrm>
        <a:prstGeom prst="upArrowCallout">
          <a:avLst>
            <a:gd name="adj1" fmla="val 50000"/>
            <a:gd name="adj2" fmla="val 20000"/>
            <a:gd name="adj3" fmla="val 20000"/>
            <a:gd name="adj4" fmla="val 10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240" tIns="165100" rIns="96240" bIns="16510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/>
            <a:t>Measure code complexity</a:t>
          </a:r>
          <a:endParaRPr 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 dirty="0"/>
            <a:t> Identify places that need refactoring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100" kern="1200" dirty="0"/>
            <a:t> Measure automatically in CI/CD.</a:t>
          </a:r>
          <a:endParaRPr lang="en-US" sz="1100" kern="1200" dirty="0"/>
        </a:p>
      </dsp:txBody>
      <dsp:txXfrm>
        <a:off x="1358273" y="2035363"/>
        <a:ext cx="1220061" cy="1721588"/>
      </dsp:txXfrm>
    </dsp:sp>
    <dsp:sp modelId="{F87B208D-E0CB-C243-9890-193658DBFF32}">
      <dsp:nvSpPr>
        <dsp:cNvPr id="0" name=""/>
        <dsp:cNvSpPr/>
      </dsp:nvSpPr>
      <dsp:spPr>
        <a:xfrm>
          <a:off x="2713897" y="1383082"/>
          <a:ext cx="1220061" cy="7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41BFDDB-6924-344A-B069-D8E5B6AB1DD7}">
      <dsp:nvSpPr>
        <dsp:cNvPr id="0" name=""/>
        <dsp:cNvSpPr/>
      </dsp:nvSpPr>
      <dsp:spPr>
        <a:xfrm>
          <a:off x="3966493" y="1337492"/>
          <a:ext cx="62358" cy="117324"/>
        </a:xfrm>
        <a:prstGeom prst="chevron">
          <a:avLst>
            <a:gd name="adj" fmla="val 9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163A0B3-75A1-C046-9E01-C6A2BC7B9E2E}">
      <dsp:nvSpPr>
        <dsp:cNvPr id="0" name=""/>
        <dsp:cNvSpPr/>
      </dsp:nvSpPr>
      <dsp:spPr>
        <a:xfrm>
          <a:off x="3081000" y="1140191"/>
          <a:ext cx="485854" cy="48585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854" tIns="18854" rIns="18854" bIns="18854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3</a:t>
          </a:r>
        </a:p>
      </dsp:txBody>
      <dsp:txXfrm>
        <a:off x="3152152" y="1211343"/>
        <a:ext cx="343550" cy="343550"/>
      </dsp:txXfrm>
    </dsp:sp>
    <dsp:sp modelId="{E0C70099-C20C-A74C-BDCA-329773ECDABB}">
      <dsp:nvSpPr>
        <dsp:cNvPr id="0" name=""/>
        <dsp:cNvSpPr/>
      </dsp:nvSpPr>
      <dsp:spPr>
        <a:xfrm>
          <a:off x="2713897" y="1791820"/>
          <a:ext cx="1220061" cy="1965600"/>
        </a:xfrm>
        <a:prstGeom prst="upArrowCallout">
          <a:avLst>
            <a:gd name="adj1" fmla="val 50000"/>
            <a:gd name="adj2" fmla="val 20000"/>
            <a:gd name="adj3" fmla="val 20000"/>
            <a:gd name="adj4" fmla="val 10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240" tIns="165100" rIns="96240" bIns="16510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/>
            <a:t>Conduct code review. </a:t>
          </a:r>
          <a:endParaRPr 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100" kern="1200" dirty="0"/>
            <a:t> Insist on clean code even when it takes longer</a:t>
          </a:r>
          <a:endParaRPr lang="en-US" sz="1100" kern="1200" dirty="0"/>
        </a:p>
      </dsp:txBody>
      <dsp:txXfrm>
        <a:off x="2713897" y="2035832"/>
        <a:ext cx="1220061" cy="1721588"/>
      </dsp:txXfrm>
    </dsp:sp>
    <dsp:sp modelId="{B8265BA7-048D-5745-BACC-04AE5B174232}">
      <dsp:nvSpPr>
        <dsp:cNvPr id="0" name=""/>
        <dsp:cNvSpPr/>
      </dsp:nvSpPr>
      <dsp:spPr>
        <a:xfrm>
          <a:off x="4069521" y="1383082"/>
          <a:ext cx="610030" cy="7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7E6458A-A1FD-3642-98D1-8F61E4ADDBD0}">
      <dsp:nvSpPr>
        <dsp:cNvPr id="0" name=""/>
        <dsp:cNvSpPr/>
      </dsp:nvSpPr>
      <dsp:spPr>
        <a:xfrm>
          <a:off x="4436624" y="1140191"/>
          <a:ext cx="485854" cy="48585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854" tIns="18854" rIns="18854" bIns="18854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4</a:t>
          </a:r>
        </a:p>
      </dsp:txBody>
      <dsp:txXfrm>
        <a:off x="4507776" y="1211343"/>
        <a:ext cx="343550" cy="343550"/>
      </dsp:txXfrm>
    </dsp:sp>
    <dsp:sp modelId="{E8D5FAE7-BB64-3144-A273-8FF8E19E6E8C}">
      <dsp:nvSpPr>
        <dsp:cNvPr id="0" name=""/>
        <dsp:cNvSpPr/>
      </dsp:nvSpPr>
      <dsp:spPr>
        <a:xfrm>
          <a:off x="4069521" y="1791820"/>
          <a:ext cx="1220061" cy="1965600"/>
        </a:xfrm>
        <a:prstGeom prst="upArrowCallout">
          <a:avLst>
            <a:gd name="adj1" fmla="val 50000"/>
            <a:gd name="adj2" fmla="val 20000"/>
            <a:gd name="adj3" fmla="val 20000"/>
            <a:gd name="adj4" fmla="val 10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240" tIns="165100" rIns="96240" bIns="16510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/>
            <a:t>Create a technical debt log.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100" kern="1200" dirty="0"/>
            <a:t> Regularly work through the list and refactor the code.</a:t>
          </a:r>
          <a:endParaRPr lang="en-US" sz="1100" kern="1200" dirty="0"/>
        </a:p>
      </dsp:txBody>
      <dsp:txXfrm>
        <a:off x="4069521" y="2035832"/>
        <a:ext cx="1220061" cy="172158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16/7/layout/LinearArrowProcessNumbered">
  <dgm:title val="Linear Arrow Process Numbered"/>
  <dgm:desc val="Used to show a progression; a timeline; sequential steps in a task, process, or workflow; or to emphasize movement or direction. Automatic numbers have been introduced to show the steps of the process which appears in a circle. Level 1 and Level 2 text appear in a shape called UpArrowCallout. Also the nodes are connected by an arrow like shape emphasizing the process nature."/>
  <dgm:catLst>
    <dgm:cat type="process" pri="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101" type="sibTrans" cxnId="4">
          <dgm:prSet phldrT="1"/>
          <dgm:t>
            <a:bodyPr/>
            <a:lstStyle/>
            <a:p>
              <a:r>
                <a:t>1</a:t>
              </a:r>
            </a:p>
          </dgm:t>
        </dgm:pt>
        <dgm:pt modelId="201" type="sibTrans" cxnId="5">
          <dgm:prSet phldrT="2"/>
          <dgm:t>
            <a:bodyPr/>
            <a:lstStyle/>
            <a:p>
              <a:r>
                <a:t>2</a:t>
              </a:r>
            </a:p>
          </dgm:t>
        </dgm:pt>
        <dgm:pt modelId="301" type="sibTrans" cxnId="6">
          <dgm:prSet phldrT="3"/>
          <dgm:t>
            <a:bodyPr/>
            <a:lstStyle/>
            <a:p>
              <a:r>
                <a:t>3</a:t>
              </a:r>
            </a:p>
          </dgm:t>
        </dgm:pt>
      </dgm:ptLst>
      <dgm:cxnLst>
        <dgm:cxn modelId="4" srcId="0" destId="1" srcOrd="0" destOrd="0" sibTransId="101"/>
        <dgm:cxn modelId="5" srcId="0" destId="2" srcOrd="1" destOrd="0" sibTransId="201"/>
        <dgm:cxn modelId="6" srcId="0" destId="3" srcOrd="3" destOrd="0" sibTransId="301"/>
        <dgm:cxn modelId="13" srcId="1" destId="11" srcOrd="0" destOrd="0"/>
        <dgm:cxn modelId="23" srcId="2" destId="21" srcOrd="0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L"/>
      <dgm:param type="nodeVertAlign" val="t"/>
    </dgm:alg>
    <dgm:shape xmlns:r="http://schemas.openxmlformats.org/officeDocument/2006/relationships" r:blip="">
      <dgm:adjLst/>
    </dgm:shape>
    <dgm:presOf/>
    <dgm:constrLst>
      <dgm:constr type="w" for="ch" forName="compositeNode" refType="w"/>
      <dgm:constr type="h" for="ch" forName="compositeNode" op="equ"/>
      <dgm:constr type="w" for="ch" forName="sibTransComposite" refType="w" refFor="ch" refForName="compositeNode" fact="0"/>
      <dgm:constr type="w" for="des" forName="parTx"/>
      <dgm:constr type="h" for="des" forName="parTx" op="equ"/>
      <dgm:constr type="h" for="des" forName="parSh" op="equ"/>
      <dgm:constr type="w" for="des" forName="nodeText"/>
      <dgm:constr type="h" for="des" forName="nodeText" op="equ"/>
      <dgm:constr type="w" for="des" forName="parSh"/>
      <dgm:constr type="w" for="des" forName="parSh" op="equ"/>
      <dgm:constr type="primFontSz" for="des" forName="parTx" val="26"/>
      <dgm:constr type="primFontSz" for="des" forName="parTx" op="equ"/>
      <dgm:constr type="primFontSz" for="des" forName="parSh" op="equ"/>
      <dgm:constr type="primFontSz" for="des" forName="nodeText" op="equ"/>
      <dgm:constr type="secFontSz" for="des" forName="nodeText" op="equ"/>
      <dgm:constr type="primFontSz" for="des" forName="sibTransNodeCircle" op="equ"/>
      <dgm:constr type="h" for="des" forName="sibTransNodeCircle" op="equ"/>
      <dgm:constr type="w" for="des" forName="sibTransNodeCircle" op="equ"/>
      <dgm:constr type="h" for="des" forName="parTx" refType="primFontSz" refFor="des" refForName="parTx" fact="1.5"/>
      <dgm:constr type="h" for="ch" forName="compositeNode" refType="h"/>
      <dgm:constr type="h" for="des" forName="parSh" refType="w"/>
      <dgm:constr type="h" for="des" forName="nodeText" refType="primFontSz" refFor="des" refForName="parTx" fact="2.1"/>
      <dgm:constr type="h" for="des" forName="parSh" refType="h" refFor="des" refForName="parTx" op="lte" fact="1.2"/>
      <dgm:constr type="h" for="des" forName="parSh" refType="h" refFor="des" refForName="parTx" op="gte" fact="1.2"/>
    </dgm:constrLst>
    <dgm:ruleLst>
      <dgm:rule type="primFontSz" for="des" forName="parSh" val="5" fact="NaN" max="NaN"/>
    </dgm:ruleLst>
    <dgm:forEach name="Name3" axis="ch" ptType="node">
      <dgm:layoutNode name="compositeNode">
        <dgm:alg type="composite"/>
        <dgm:shape xmlns:r="http://schemas.openxmlformats.org/officeDocument/2006/relationships" r:blip="">
          <dgm:adjLst/>
        </dgm:shape>
        <dgm:presOf/>
        <dgm:choose name="Name004">
          <dgm:if name="Name5" axis="self" ptType="node" func="cnt" op="equ" val="0">
            <dgm:constrLst>
              <dgm:constr type="w" for="ch" forName="parTx" refType="w"/>
              <dgm:constr type="w" for="ch" forName="parSh" refType="w" refFor="ch" refForName="parTx"/>
              <dgm:constr type="w" for="ch" forName="nodeText" refType="w" refFor="ch" refForName="parTx"/>
              <dgm:constr type="t" for="ch" forName="nodeText" refType="b" refFor="ch" refForName="parSh"/>
            </dgm:constrLst>
          </dgm:if>
          <dgm:else name="Name6">
            <dgm:constrLst>
              <dgm:constr type="w" for="ch" forName="parTx" refType="w"/>
              <dgm:constr type="w" for="ch" forName="parSh" refType="w" refFor="ch" refForName="parTx"/>
              <dgm:constr type="w" for="ch" forName="nodeText" refType="w" refFor="ch" refForName="parTx" fact="0.9"/>
              <dgm:constr type="t" for="ch" forName="nodeText" refType="b" refFor="ch" refForName="parSh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zOrderOff="1" hideGeom="1">
            <dgm:adjLst/>
          </dgm:shape>
          <dgm:presOf/>
          <dgm:constrLst>
            <dgm:constr type="h" refType="w" op="lte" fact="0.4"/>
            <dgm:constr type="h"/>
          </dgm:constrLst>
          <dgm:ruleLst>
            <dgm:rule type="h" val="INF" fact="NaN" max="NaN"/>
          </dgm:ruleLst>
        </dgm:layoutNode>
        <dgm:layoutNode name="parSh">
          <dgm:alg type="composite"/>
          <dgm:shape xmlns:r="http://schemas.openxmlformats.org/officeDocument/2006/relationships" r:blip="">
            <dgm:adjLst/>
          </dgm:shape>
          <dgm:presOf axis="self" ptType="node"/>
          <dgm:choose name="casesForFirstAndLastNode">
            <dgm:if name="ifFirstNode" axis="self" ptType="node" func="pos" op="equ" val="1">
              <dgm:choose name="removeLineWhenOnlyOneNode">
                <dgm:if name="ifOnlyOneNode" axis="followSib" ptType="node" func="cnt" op="equ" val="0">
                  <dgm:constrLst>
                    <dgm:constr type="h"/>
                    <dgm:constr type="h" for="ch" forName="lineNode" val="0.002"/>
                    <dgm:constr type="w" for="ch" forName="lineNode" refType="w" fact="0"/>
                    <dgm:constr type="w" for="ch" forName="lineArrowNode" refType="w" fact="0"/>
                    <dgm:constr type="h" for="ch" forName="lineArrowNode" refType="h" fact="0"/>
                    <dgm:constr type="ctrY" for="ch" forName="lineNode" refType="ctrY" refFor="ch" refForName="sibTransNodeCircle"/>
                    <dgm:constr type="h" for="ch" forName="sibTransNodeCircle" refType="h" fact="0.9"/>
                    <dgm:constr type="w" for="ch" forName="sibTransNodeCircle" refType="h" refFor="ch" refForName="sibTransNodeCircle"/>
                    <dgm:constr type="ctrX" for="ch" forName="sibTransNodeCircle" refType="w" fact="0.45"/>
                    <dgm:constr type="ctrY" for="ch" forName="sibTransNodeCircle" refType="h" fact="0.25"/>
                    <dgm:constr type="t" for="ch" forName="spacerBetweenCircleAndCallout" refType="b" refFor="ch" refForName="sibTransNodeCircle"/>
                    <dgm:constr type="h" for="ch" forName="spacerBetweenCircleAndCallout" val="4.6"/>
                  </dgm:constrLst>
                </dgm:if>
                <dgm:else name="ifMoreThanOneNode">
                  <dgm:constrLst>
                    <dgm:constr type="h"/>
                    <dgm:constr type="h" for="ch" forName="lineNode" val="0.002"/>
                    <dgm:constr type="w" for="ch" forName="lineNode" refType="w" fact="0.4"/>
                    <dgm:constr type="l" for="ch" forName="lineNode" refType="w" fact="0.5"/>
                    <dgm:constr type="w" for="ch" forName="lineArrowNode" refType="w" fact="0.046"/>
                    <dgm:constr type="h" for="ch" forName="lineArrowNode" refType="h" fact="0.18"/>
                    <dgm:constr type="l" for="ch" forName="lineArrowNode" refType="w" fact="0.924"/>
                    <dgm:constr type="t" for="ch" forName="lineArrowNode" refType="h" fact="0.18"/>
                    <dgm:constr type="ctrY" for="ch" forName="lineNode" refType="ctrY" refFor="ch" refForName="sibTransNodeCircle"/>
                    <dgm:constr type="h" for="ch" forName="sibTransNodeCircle" refType="h" fact="0.9"/>
                    <dgm:constr type="w" for="ch" forName="sibTransNodeCircle" refType="h" refFor="ch" refForName="sibTransNodeCircle"/>
                    <dgm:constr type="ctrX" for="ch" forName="sibTransNodeCircle" refType="w" fact="0.45"/>
                    <dgm:constr type="ctrY" for="ch" forName="sibTransNodeCircle" refType="h" fact="0.25"/>
                    <dgm:constr type="t" for="ch" forName="spacerBetweenCircleAndCallout" refType="b" refFor="ch" refForName="sibTransNodeCircle"/>
                    <dgm:constr type="h" for="ch" forName="spacerBetweenCircleAndCallout" val="4.6"/>
                  </dgm:constrLst>
                </dgm:else>
              </dgm:choose>
            </dgm:if>
            <dgm:if name="ifLastNode" axis="self" ptType="node" func="revPos" op="equ" val="1">
              <dgm:constrLst>
                <dgm:constr type="h"/>
                <dgm:constr type="h" for="ch" forName="lineNode" val="0.002"/>
                <dgm:constr type="w" for="ch" forName="lineNode" refType="w" fact="0.45"/>
                <dgm:constr type="w" for="ch" forName="lineArrowNode" refType="w" fact="0"/>
                <dgm:constr type="h" for="ch" forName="lineArrowNode" refType="h" fact="0"/>
                <dgm:constr type="ctrY" for="ch" forName="lineNode" refType="ctrY" refFor="ch" refForName="sibTransNodeCircle"/>
                <dgm:constr type="h" for="ch" forName="sibTransNodeCircle" refType="h"/>
                <dgm:constr type="w" for="ch" forName="sibTransNodeCircle" refType="h" refFor="ch" refForName="sibTransNodeCircle"/>
                <dgm:constr type="ctrX" for="ch" forName="sibTransNodeCircle" refType="w" fact="0.45"/>
                <dgm:constr type="ctrY" for="ch" forName="sibTransNodeCircle" refType="h" fact="0.25"/>
                <dgm:constr type="t" for="ch" forName="spacerBetweenCircleAndCallout" refType="b" refFor="ch" refForName="sibTransNodeCircle"/>
                <dgm:constr type="h" for="ch" forName="spacerBetweenCircleAndCallout" val="4.6"/>
              </dgm:constrLst>
            </dgm:if>
            <dgm:else name="allOtherNodes">
              <dgm:constrLst>
                <dgm:constr type="h"/>
                <dgm:constr type="h" for="ch" forName="lineNode" val="0.002"/>
                <dgm:constr type="w" for="ch" forName="lineNode" refType="w" fact="0.9"/>
                <dgm:constr type="w" for="ch" forName="lineArrowNode" refType="w" fact="0.046"/>
                <dgm:constr type="h" for="ch" forName="lineArrowNode" refType="h" fact="0.18"/>
                <dgm:constr type="l" for="ch" forName="lineArrowNode" refType="w" fact="0.924"/>
                <dgm:constr type="t" for="ch" forName="lineArrowNode" refType="h" fact="0.18"/>
                <dgm:constr type="ctrY" for="ch" forName="lineNode" refType="ctrY" refFor="ch" refForName="sibTransNodeCircle"/>
                <dgm:constr type="h" for="ch" forName="sibTransNodeCircle" refType="h" fact="0.9"/>
                <dgm:constr type="w" for="ch" forName="sibTransNodeCircle" refType="h" refFor="ch" refForName="sibTransNodeCircle"/>
                <dgm:constr type="ctrX" for="ch" forName="sibTransNodeCircle" refType="w" fact="0.45"/>
                <dgm:constr type="ctrY" for="ch" forName="sibTransNodeCircle" refType="h" fact="0.25"/>
                <dgm:constr type="t" for="ch" forName="spacerBetweenCircleAndCallout" refType="b" refFor="ch" refForName="sibTransNodeCircle"/>
                <dgm:constr type="h" for="ch" forName="spacerBetweenCircleAndCallout" val="4.6"/>
              </dgm:constrLst>
            </dgm:else>
          </dgm:choose>
          <dgm:layoutNode name="lineNode" styleLbl="alignAccFollowNode1">
            <dgm:alg type="sp"/>
            <dgm:shape xmlns:r="http://schemas.openxmlformats.org/officeDocument/2006/relationships" type="rect" r:blip="">
              <dgm:adjLst/>
            </dgm:shape>
            <dgm:presOf/>
            <dgm:constrLst/>
            <dgm:ruleLst/>
          </dgm:layoutNode>
          <dgm:layoutNode name="lineArrowNode" styleLbl="alignAccFollowNode1">
            <dgm:alg type="sp"/>
            <dgm:shape xmlns:r="http://schemas.openxmlformats.org/officeDocument/2006/relationships" type="chevron" r:blip="">
              <dgm:adjLst>
                <dgm:adj idx="1" val="0.9"/>
              </dgm:adjLst>
            </dgm:shape>
            <dgm:presOf/>
            <dgm:ruleLst/>
          </dgm:layoutNode>
          <dgm:forEach name="Name19" axis="followSib" ptType="sibTrans" hideLastTrans="0" cnt="1">
            <dgm:layoutNode name="sibTransNodeCircle" styleLbl="alignNode1">
              <dgm:varLst>
                <dgm:chMax val="0"/>
                <dgm:bulletEnabled/>
              </dgm:varLst>
              <dgm:presOf axis="self" ptType="sibTrans"/>
              <dgm:alg type="tx">
                <dgm:param type="txAnchorVert" val="mid"/>
                <dgm:param type="txAnchorHorzCh" val="ctr"/>
                <dgm:param type="parTxRTLAlign" val="l"/>
              </dgm:alg>
              <dgm:shape xmlns:r="http://schemas.openxmlformats.org/officeDocument/2006/relationships" type="ellipse" r:blip="">
                <dgm:adjLst/>
              </dgm:shape>
              <dgm:constrLst>
                <dgm:constr type="w" refType="h" op="equ"/>
                <dgm:constr type="primFontSz" val="60"/>
                <dgm:constr type="tMarg" refType="w" fact="0.11"/>
                <dgm:constr type="lMarg" refType="w" fact="0.11"/>
                <dgm:constr type="rMarg" refType="w" fact="0.11"/>
                <dgm:constr type="bMarg" refType="w" fact="0.11"/>
              </dgm:constrLst>
              <dgm:ruleLst>
                <dgm:rule type="primFontSz" val="14" fact="NaN" max="NaN"/>
              </dgm:ruleLst>
            </dgm:layoutNode>
            <dgm:layoutNode name="spacerBetweenCircleAndCallout">
              <dgm:varLst/>
              <dgm:presOf/>
              <dgm:alg type="sp"/>
              <dgm:shape xmlns:r="http://schemas.openxmlformats.org/officeDocument/2006/relationships" r:blip="">
                <dgm:adjLst/>
              </dgm:shape>
              <dgm:constrLst/>
              <dgm:ruleLst/>
            </dgm:layoutNode>
          </dgm:forEach>
          <dgm:presOf/>
          <dgm:ruleLst/>
        </dgm:layoutNode>
        <dgm:layoutNode name="nodeText" styleLbl="alignAccFollowNode1">
          <dgm:varLst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upArrowCallout" r:blip="">
            <dgm:adjLst>
              <dgm:adj idx="1" val="0.5"/>
              <dgm:adj idx="2" val="0.2"/>
              <dgm:adj idx="3" val="0.2"/>
              <dgm:adj idx="4" val="1"/>
            </dgm:adjLst>
          </dgm:shape>
          <dgm:presOf axis="desOrSelf" ptType="node"/>
          <dgm:constrLst>
            <dgm:constr type="secFontSz" val="16"/>
            <dgm:constr type="primFontSz" val="26"/>
            <dgm:constr type="h"/>
            <dgm:constr type="tMarg" val="13"/>
            <dgm:constr type="lMarg" refType="w" fact="0.2236"/>
            <dgm:constr type="rMarg" refType="w" fact="0.2236"/>
            <dgm:constr type="bMarg" val="13"/>
          </dgm:constrLst>
          <dgm:ruleLst>
            <dgm:rule type="secFontSz" val="11" fact="NaN" max="NaN"/>
            <dgm:rule type="primFontSz" val="11" fact="NaN" max="NaN"/>
            <dgm:rule type="h" val="INF" fact="NaN" max="NaN"/>
          </dgm:ruleLst>
        </dgm:layoutNode>
      </dgm:layoutNode>
      <dgm:forEach name="sibTransForEach" axis="followSib" ptType="sibTrans" cnt="1">
        <dgm:layoutNode name="sibTransComposite" styleLbl="alignAccFollowNode1">
          <dgm:alg type="sp"/>
          <dgm:shape xmlns:r="http://schemas.openxmlformats.org/officeDocument/2006/relationships" r:blip="">
            <dgm:adjLst/>
          </dgm:shape>
          <dgm:ruleLst/>
        </dgm:layoutNode>
        <dgm:ruleLst>
          <dgm:rule type="h" val="INF" fact="NaN" max="NaN"/>
        </dgm:ruleLst>
      </dgm:forEach>
    </dgm:forEach>
  </dgm:layoutNode>
  <dgm:extLst>
    <a:ext uri="{4F341089-5ED1-44EC-B178-C955D00A3D55}">
      <dgm1611:autoBuNodeInfoLst xmlns:dgm1611="http://schemas.microsoft.com/office/drawing/2016/11/diagram">
        <dgm1611:autoBuNodeInfo lvl="1" ptType="sibTrans">
          <dgm1611:buPr prefix="" leadZeros="0">
            <a:buAutoNum type="arabicParenBoth"/>
          </dgm1611:buPr>
        </dgm1611:autoBuNodeInfo>
      </dgm1611:autoBuNodeInfoLst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BAC601-79EC-4230-922D-8A80BCD7E733}" type="datetimeFigureOut">
              <a:rPr lang="en-CA" smtClean="0"/>
              <a:t>2025-01-27</a:t>
            </a:fld>
            <a:endParaRPr lang="en-CA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CA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46FB33-408D-4E42-9983-6C93B3CEFE46}" type="slidenum">
              <a:rPr lang="en-CA" smtClean="0"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0703539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ocumentation helps others and your future self to understand your cod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46FB33-408D-4E42-9983-6C93B3CEFE46}" type="slidenum">
              <a:rPr lang="en-CA" smtClean="0"/>
              <a:t>1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432004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EC3289-8BAF-57DE-C868-986C0403E9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8334A35-39B1-D2C2-1429-12DB300612B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E62851E-1874-C3A2-D72E-DCC479FE9DB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ocumentation helps others and your future self to understand your cod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5EA7121-B0E4-1DC0-7ECD-877B8252FB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46FB33-408D-4E42-9983-6C93B3CEFE46}" type="slidenum">
              <a:rPr lang="en-CA" smtClean="0"/>
              <a:t>1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5529833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impl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>
            <a:extLst>
              <a:ext uri="{FF2B5EF4-FFF2-40B4-BE49-F238E27FC236}">
                <a16:creationId xmlns:a16="http://schemas.microsoft.com/office/drawing/2014/main" id="{29AC1DB3-A364-5A5A-4458-F6D215741209}"/>
              </a:ext>
            </a:extLst>
          </p:cNvPr>
          <p:cNvSpPr>
            <a:spLocks/>
          </p:cNvSpPr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>
                  <a:alpha val="95000"/>
                </a:schemeClr>
              </a:gs>
              <a:gs pos="100000">
                <a:srgbClr val="3264FF">
                  <a:alpha val="90000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32" name="think-cell data - do not delete" hidden="1">
            <a:extLst>
              <a:ext uri="{FF2B5EF4-FFF2-40B4-BE49-F238E27FC236}">
                <a16:creationId xmlns:a16="http://schemas.microsoft.com/office/drawing/2014/main" id="{628C9344-420C-C1CC-023E-872975F9EF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8629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8C9344-420C-C1CC-023E-872975F9EF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D832960-CDA8-823E-15E4-30E3BD2CA0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3350659"/>
            <a:ext cx="9144000" cy="553998"/>
          </a:xfrm>
        </p:spPr>
        <p:txBody>
          <a:bodyPr vert="horz" anchor="t"/>
          <a:lstStyle>
            <a:lvl1pPr algn="ctr"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Add </a:t>
            </a:r>
            <a:r>
              <a:rPr lang="de-DE" err="1"/>
              <a:t>presentation</a:t>
            </a:r>
            <a:r>
              <a:rPr lang="de-DE"/>
              <a:t> </a:t>
            </a:r>
            <a:r>
              <a:rPr lang="de-DE" err="1"/>
              <a:t>titlE</a:t>
            </a:r>
            <a:endParaRPr lang="en-CA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287F373-6A36-D830-BBFF-5BC526A72A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5441245"/>
            <a:ext cx="9144000" cy="276999"/>
          </a:xfrm>
        </p:spPr>
        <p:txBody>
          <a:bodyPr>
            <a:spAutoFit/>
          </a:bodyPr>
          <a:lstStyle>
            <a:lvl1pPr marL="0" indent="0" algn="ctr">
              <a:buNone/>
              <a:defRPr sz="18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HP Quote-</a:t>
            </a:r>
            <a:r>
              <a:rPr lang="de-DE" err="1"/>
              <a:t>No</a:t>
            </a:r>
            <a:r>
              <a:rPr lang="de-DE"/>
              <a:t>. </a:t>
            </a:r>
            <a:endParaRPr lang="en-CA"/>
          </a:p>
        </p:txBody>
      </p:sp>
      <p:grpSp>
        <p:nvGrpSpPr>
          <p:cNvPr id="7" name="Gruppieren 14">
            <a:extLst>
              <a:ext uri="{FF2B5EF4-FFF2-40B4-BE49-F238E27FC236}">
                <a16:creationId xmlns:a16="http://schemas.microsoft.com/office/drawing/2014/main" id="{5A053A31-D315-58B6-B194-6EB692BB6E6F}"/>
              </a:ext>
            </a:extLst>
          </p:cNvPr>
          <p:cNvGrpSpPr/>
          <p:nvPr userDrawn="1"/>
        </p:nvGrpSpPr>
        <p:grpSpPr bwMode="black">
          <a:xfrm>
            <a:off x="5051482" y="1484313"/>
            <a:ext cx="2089038" cy="833340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5D413C6D-6242-0EAD-D568-DB553BE6770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E4C4E3A-FC09-B574-0BCB-8066B3FB15D6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72A0E1A-0EDB-C5B6-51E5-981BE11E54D7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5DD59E1A-C8BD-5041-74B6-A05F634BC1F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BE8D5896-4B70-893D-3B15-5601B41E480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19957FCD-EC82-D997-5FFA-274C5B51778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8F2BA7CA-8188-4C52-205A-517F7A0B59C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B2071794-20EE-C045-2A71-9F31668CC69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4C5A9BDA-F69F-A6BF-304B-946744AA58C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31187800-CC88-6119-E2DC-27262530FAE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568F0935-D1E6-73A0-E7E0-CDA4E203A35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EAB34E3A-6F8B-6B73-A9F4-B709329E7AE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A37720B8-12CD-7A0E-256D-AB460801A63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DBD0AA43-F83D-2F87-DF93-66F9CA13A57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EDE2DD95-01C4-A0F1-43F1-109DD73126B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24E9D878-2B64-25B1-B41D-F66E2F63DF0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98ABB3D9-464F-F735-DEA5-ABC0120F00C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4A573133-EF96-8589-2BF1-088B1044065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38CEEF2-882B-E3EE-8FD3-7DE0BC8430E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0DC81826-9A4C-FD0D-FDAE-A8C0602A002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B48FB929-8D8E-76C5-A881-E20BD54A399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48A6352-713F-0A02-F433-13D25B61D1B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69493CB0-4949-B334-F0C6-753F98F2C3F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57DD1241-2A1B-F420-A921-54F65AB2613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79553" y="6019840"/>
            <a:ext cx="1032897" cy="361910"/>
          </a:xfrm>
          <a:prstGeom prst="roundRect">
            <a:avLst>
              <a:gd name="adj" fmla="val 50000"/>
            </a:avLst>
          </a:prstGeom>
          <a:ln>
            <a:solidFill>
              <a:schemeClr val="bg1"/>
            </a:solidFill>
          </a:ln>
        </p:spPr>
        <p:txBody>
          <a:bodyPr wrap="none" lIns="36000" tIns="36000" rIns="36000" bIns="36000" anchor="ctr">
            <a:spAutoFit/>
          </a:bodyPr>
          <a:lstStyle>
            <a:lvl1pPr marL="0" indent="0" algn="ctr">
              <a:buNone/>
              <a:defRPr sz="1200" cap="all" baseline="0">
                <a:solidFill>
                  <a:schemeClr val="bg1"/>
                </a:solidFill>
              </a:defRPr>
            </a:lvl1pPr>
            <a:lvl2pPr marL="252000" indent="0" algn="ctr">
              <a:buNone/>
              <a:defRPr>
                <a:solidFill>
                  <a:schemeClr val="bg1"/>
                </a:solidFill>
              </a:defRPr>
            </a:lvl2pPr>
            <a:lvl3pPr marL="504000" indent="0" algn="ctr">
              <a:buNone/>
              <a:defRPr>
                <a:solidFill>
                  <a:schemeClr val="bg1"/>
                </a:solidFill>
              </a:defRPr>
            </a:lvl3pPr>
            <a:lvl4pPr marL="756000" indent="0" algn="ctr">
              <a:buNone/>
              <a:defRPr>
                <a:solidFill>
                  <a:schemeClr val="bg1"/>
                </a:solidFill>
              </a:defRPr>
            </a:lvl4pPr>
            <a:lvl5pPr marL="10080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Place, Date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77E39F36-F128-1B55-146B-6650CBC97892}"/>
              </a:ext>
            </a:extLst>
          </p:cNvPr>
          <p:cNvSpPr/>
          <p:nvPr userDrawn="1"/>
        </p:nvSpPr>
        <p:spPr>
          <a:xfrm>
            <a:off x="12341678" y="0"/>
            <a:ext cx="301275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algn="l"/>
            <a:r>
              <a:rPr lang="en-CA" sz="1400" dirty="0">
                <a:solidFill>
                  <a:schemeClr val="tx2"/>
                </a:solidFill>
              </a:rPr>
              <a:t>To add a background image, right click on slide – “Format Background” – “Picture or texture fill”</a:t>
            </a:r>
          </a:p>
        </p:txBody>
      </p:sp>
    </p:spTree>
    <p:extLst>
      <p:ext uri="{BB962C8B-B14F-4D97-AF65-F5344CB8AC3E}">
        <p14:creationId xmlns:p14="http://schemas.microsoft.com/office/powerpoint/2010/main" val="1350463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blue_single lin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A39D31F-72A1-9494-80EA-D2C514D6A5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5414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39D31F-72A1-9494-80EA-D2C514D6A5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9DAC3153-1126-FD5E-A137-BD36F495AEB7}"/>
              </a:ext>
            </a:extLst>
          </p:cNvPr>
          <p:cNvSpPr>
            <a:spLocks/>
          </p:cNvSpPr>
          <p:nvPr userDrawn="1"/>
        </p:nvSpPr>
        <p:spPr bwMode="white">
          <a:xfrm>
            <a:off x="0" y="0"/>
            <a:ext cx="12192000" cy="6857999"/>
          </a:xfrm>
          <a:prstGeom prst="rect">
            <a:avLst/>
          </a:prstGeom>
          <a:gradFill>
            <a:gsLst>
              <a:gs pos="0">
                <a:schemeClr val="accent1">
                  <a:alpha val="95000"/>
                </a:schemeClr>
              </a:gs>
              <a:gs pos="100000">
                <a:srgbClr val="3264FF">
                  <a:alpha val="90000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CA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2C73B73-121B-A755-A619-61DA9EB430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484313"/>
            <a:ext cx="3490912" cy="677108"/>
          </a:xfrm>
        </p:spPr>
        <p:txBody>
          <a:bodyPr vert="horz"/>
          <a:lstStyle>
            <a:lvl1pPr>
              <a:defRPr sz="44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Agenda</a:t>
            </a:r>
            <a:endParaRPr lang="en-CA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7C8D850-AF7E-8F4D-CEF3-B47C121EC3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226954-6933-4634-9F99-3CCD2EC48874}" type="datetime1">
              <a:rPr lang="de-DE" smtClean="0"/>
              <a:t>27.01.25</a:t>
            </a:fld>
            <a:endParaRPr lang="en-CA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89C0FBA-71BD-3026-F678-D62D69D42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83" name="Textplatzhalter 82">
            <a:extLst>
              <a:ext uri="{FF2B5EF4-FFF2-40B4-BE49-F238E27FC236}">
                <a16:creationId xmlns:a16="http://schemas.microsoft.com/office/drawing/2014/main" id="{C9B30888-BB4F-08DD-5BD9-E0F0321083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87340" y="2661076"/>
            <a:ext cx="6401434" cy="215444"/>
          </a:xfrm>
        </p:spPr>
        <p:txBody>
          <a:bodyPr wrap="square" anchor="ctr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opic 1</a:t>
            </a:r>
            <a:endParaRPr lang="en-CA" dirty="0"/>
          </a:p>
        </p:txBody>
      </p:sp>
      <p:sp>
        <p:nvSpPr>
          <p:cNvPr id="86" name="Textplatzhalter 82">
            <a:extLst>
              <a:ext uri="{FF2B5EF4-FFF2-40B4-BE49-F238E27FC236}">
                <a16:creationId xmlns:a16="http://schemas.microsoft.com/office/drawing/2014/main" id="{787E3241-82A8-6151-6002-00B9C4A3F6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55820" y="2553355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1</a:t>
            </a:r>
            <a:endParaRPr lang="en-CA"/>
          </a:p>
        </p:txBody>
      </p:sp>
      <p:sp>
        <p:nvSpPr>
          <p:cNvPr id="94" name="Textplatzhalter 82">
            <a:extLst>
              <a:ext uri="{FF2B5EF4-FFF2-40B4-BE49-F238E27FC236}">
                <a16:creationId xmlns:a16="http://schemas.microsoft.com/office/drawing/2014/main" id="{ECA94DBB-538B-92B7-7A4D-C9C002F7CC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55820" y="3526084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2</a:t>
            </a:r>
            <a:endParaRPr lang="en-CA"/>
          </a:p>
        </p:txBody>
      </p:sp>
      <p:sp>
        <p:nvSpPr>
          <p:cNvPr id="96" name="Textplatzhalter 82">
            <a:extLst>
              <a:ext uri="{FF2B5EF4-FFF2-40B4-BE49-F238E27FC236}">
                <a16:creationId xmlns:a16="http://schemas.microsoft.com/office/drawing/2014/main" id="{42176A46-DB68-B860-E47A-6E4818597B5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55820" y="4498813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3</a:t>
            </a:r>
            <a:endParaRPr lang="en-CA"/>
          </a:p>
        </p:txBody>
      </p:sp>
      <p:sp>
        <p:nvSpPr>
          <p:cNvPr id="98" name="Textplatzhalter 82">
            <a:extLst>
              <a:ext uri="{FF2B5EF4-FFF2-40B4-BE49-F238E27FC236}">
                <a16:creationId xmlns:a16="http://schemas.microsoft.com/office/drawing/2014/main" id="{3B1610DE-D48A-69B9-B63E-783B685A78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55820" y="5471542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4</a:t>
            </a:r>
            <a:endParaRPr lang="en-CA"/>
          </a:p>
        </p:txBody>
      </p:sp>
      <p:sp>
        <p:nvSpPr>
          <p:cNvPr id="17" name="Textplatzhalter 82">
            <a:extLst>
              <a:ext uri="{FF2B5EF4-FFF2-40B4-BE49-F238E27FC236}">
                <a16:creationId xmlns:a16="http://schemas.microsoft.com/office/drawing/2014/main" id="{B73FC471-5010-6E94-CBD7-6FCCFC202C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87340" y="3633805"/>
            <a:ext cx="6401434" cy="215444"/>
          </a:xfrm>
        </p:spPr>
        <p:txBody>
          <a:bodyPr wrap="square" anchor="ctr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2</a:t>
            </a:r>
            <a:endParaRPr lang="en-CA"/>
          </a:p>
        </p:txBody>
      </p:sp>
      <p:sp>
        <p:nvSpPr>
          <p:cNvPr id="19" name="Textplatzhalter 82">
            <a:extLst>
              <a:ext uri="{FF2B5EF4-FFF2-40B4-BE49-F238E27FC236}">
                <a16:creationId xmlns:a16="http://schemas.microsoft.com/office/drawing/2014/main" id="{8516744C-7034-D554-D31D-33427B6FF14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87340" y="4606534"/>
            <a:ext cx="6401434" cy="215444"/>
          </a:xfrm>
        </p:spPr>
        <p:txBody>
          <a:bodyPr wrap="square" anchor="ctr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3</a:t>
            </a:r>
            <a:endParaRPr lang="en-CA"/>
          </a:p>
        </p:txBody>
      </p:sp>
      <p:sp>
        <p:nvSpPr>
          <p:cNvPr id="21" name="Textplatzhalter 82">
            <a:extLst>
              <a:ext uri="{FF2B5EF4-FFF2-40B4-BE49-F238E27FC236}">
                <a16:creationId xmlns:a16="http://schemas.microsoft.com/office/drawing/2014/main" id="{C8AE1010-44C7-DC2B-A0A8-92C461FAC69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387340" y="5579263"/>
            <a:ext cx="6401434" cy="215444"/>
          </a:xfrm>
        </p:spPr>
        <p:txBody>
          <a:bodyPr wrap="square" anchor="ctr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4</a:t>
            </a:r>
            <a:endParaRPr lang="en-CA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25DCB38-902E-EE78-B52B-9EEC1591F611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grpSp>
        <p:nvGrpSpPr>
          <p:cNvPr id="4" name="Gruppieren 14">
            <a:extLst>
              <a:ext uri="{FF2B5EF4-FFF2-40B4-BE49-F238E27FC236}">
                <a16:creationId xmlns:a16="http://schemas.microsoft.com/office/drawing/2014/main" id="{685F7EC6-761E-9091-5226-75E891B9A8AE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38C40418-470C-695E-CE28-8EAA1AFD1D3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0" name="Rectangle 8">
              <a:extLst>
                <a:ext uri="{FF2B5EF4-FFF2-40B4-BE49-F238E27FC236}">
                  <a16:creationId xmlns:a16="http://schemas.microsoft.com/office/drawing/2014/main" id="{BD8EE377-874F-40FB-50FC-3A3C6BE1CDE7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1" name="Rectangle 9">
              <a:extLst>
                <a:ext uri="{FF2B5EF4-FFF2-40B4-BE49-F238E27FC236}">
                  <a16:creationId xmlns:a16="http://schemas.microsoft.com/office/drawing/2014/main" id="{8E699557-D411-E4F4-82DB-99B13F9C59EB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5A714ACC-7294-0D6B-83CE-DF8472C6C39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2E817C57-FEF3-A4FF-DA61-1C75606ECEE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A6D5471A-00FD-CF0A-D257-EE6B53ACDCE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FB02AB8C-3C4C-777A-9769-5C0E0446D6D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1B81C870-15D4-3DB4-D2BE-E20BE695334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id="{F244D6F1-908D-D906-BB01-6BCF9F29709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0A683624-B8F9-E5CB-93ED-AE8586C6603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2D549863-3DC0-D4EE-419C-53106CDFDB6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6" name="Freeform 18">
              <a:extLst>
                <a:ext uri="{FF2B5EF4-FFF2-40B4-BE49-F238E27FC236}">
                  <a16:creationId xmlns:a16="http://schemas.microsoft.com/office/drawing/2014/main" id="{6DBD3012-A05F-0B4F-EAF4-83054B080F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7" name="Freeform 19">
              <a:extLst>
                <a:ext uri="{FF2B5EF4-FFF2-40B4-BE49-F238E27FC236}">
                  <a16:creationId xmlns:a16="http://schemas.microsoft.com/office/drawing/2014/main" id="{9E16190B-7A20-A31E-1459-565E612533F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8" name="Freeform 20">
              <a:extLst>
                <a:ext uri="{FF2B5EF4-FFF2-40B4-BE49-F238E27FC236}">
                  <a16:creationId xmlns:a16="http://schemas.microsoft.com/office/drawing/2014/main" id="{046C572D-2763-176C-92C4-9E9D4D9AE2E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9" name="Freeform 21">
              <a:extLst>
                <a:ext uri="{FF2B5EF4-FFF2-40B4-BE49-F238E27FC236}">
                  <a16:creationId xmlns:a16="http://schemas.microsoft.com/office/drawing/2014/main" id="{E9FCA2DE-1CA7-ECC2-6728-1B2B39BEEE9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0" name="Freeform 22">
              <a:extLst>
                <a:ext uri="{FF2B5EF4-FFF2-40B4-BE49-F238E27FC236}">
                  <a16:creationId xmlns:a16="http://schemas.microsoft.com/office/drawing/2014/main" id="{58F38A2F-CA94-C6E4-6FFD-7548335D1CC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1" name="Freeform 23">
              <a:extLst>
                <a:ext uri="{FF2B5EF4-FFF2-40B4-BE49-F238E27FC236}">
                  <a16:creationId xmlns:a16="http://schemas.microsoft.com/office/drawing/2014/main" id="{D825808C-7ADC-9B84-FC30-C072FCF923D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2" name="Freeform 24">
              <a:extLst>
                <a:ext uri="{FF2B5EF4-FFF2-40B4-BE49-F238E27FC236}">
                  <a16:creationId xmlns:a16="http://schemas.microsoft.com/office/drawing/2014/main" id="{0CB8E670-F1FB-F481-EDF5-A10B2F9A387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3" name="Freeform 25">
              <a:extLst>
                <a:ext uri="{FF2B5EF4-FFF2-40B4-BE49-F238E27FC236}">
                  <a16:creationId xmlns:a16="http://schemas.microsoft.com/office/drawing/2014/main" id="{E037692C-43F0-595A-E122-E15E280D587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4" name="Freeform 26">
              <a:extLst>
                <a:ext uri="{FF2B5EF4-FFF2-40B4-BE49-F238E27FC236}">
                  <a16:creationId xmlns:a16="http://schemas.microsoft.com/office/drawing/2014/main" id="{2DF48E09-42C3-3658-28A3-EE53029E388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5" name="Freeform 27">
              <a:extLst>
                <a:ext uri="{FF2B5EF4-FFF2-40B4-BE49-F238E27FC236}">
                  <a16:creationId xmlns:a16="http://schemas.microsoft.com/office/drawing/2014/main" id="{E36F4521-8D3C-B0EB-7797-B1B0E713DC9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6" name="Freeform 28">
              <a:extLst>
                <a:ext uri="{FF2B5EF4-FFF2-40B4-BE49-F238E27FC236}">
                  <a16:creationId xmlns:a16="http://schemas.microsoft.com/office/drawing/2014/main" id="{1CB68D60-3CBD-E200-0D62-B62A6F9F2D4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Freeform 29">
              <a:extLst>
                <a:ext uri="{FF2B5EF4-FFF2-40B4-BE49-F238E27FC236}">
                  <a16:creationId xmlns:a16="http://schemas.microsoft.com/office/drawing/2014/main" id="{D3317844-324A-126B-15DD-68289FC98B0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22" name="Rechteck 44">
            <a:extLst>
              <a:ext uri="{FF2B5EF4-FFF2-40B4-BE49-F238E27FC236}">
                <a16:creationId xmlns:a16="http://schemas.microsoft.com/office/drawing/2014/main" id="{147D5711-4DD5-07E9-F9C8-05E857C92267}"/>
              </a:ext>
            </a:extLst>
          </p:cNvPr>
          <p:cNvSpPr/>
          <p:nvPr userDrawn="1"/>
        </p:nvSpPr>
        <p:spPr>
          <a:xfrm>
            <a:off x="12341678" y="0"/>
            <a:ext cx="301275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1400" dirty="0">
                <a:solidFill>
                  <a:schemeClr val="tx2"/>
                </a:solidFill>
              </a:rPr>
              <a:t>To add a background image, right click on slide – “Format Background” – “Picture or texture fill”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0601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6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white_2 lines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A39D31F-72A1-9494-80EA-D2C514D6A5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998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39D31F-72A1-9494-80EA-D2C514D6A5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844B8E79-04A7-CD98-8EF6-E212565A1125}"/>
              </a:ext>
            </a:extLst>
          </p:cNvPr>
          <p:cNvSpPr>
            <a:spLocks/>
          </p:cNvSpPr>
          <p:nvPr userDrawn="1"/>
        </p:nvSpPr>
        <p:spPr bwMode="white">
          <a:xfrm>
            <a:off x="3207657" y="0"/>
            <a:ext cx="898434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CA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2C73B73-121B-A755-A619-61DA9EB430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931" y="1484313"/>
            <a:ext cx="3490912" cy="677108"/>
          </a:xfrm>
        </p:spPr>
        <p:txBody>
          <a:bodyPr vert="horz"/>
          <a:lstStyle>
            <a:lvl1pPr>
              <a:defRPr sz="4400"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genda</a:t>
            </a:r>
            <a:endParaRPr lang="en-CA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7C8D850-AF7E-8F4D-CEF3-B47C121EC3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2713B47-FDFD-44F6-B33D-CFB4326DB920}" type="datetime1">
              <a:rPr lang="de-DE" smtClean="0"/>
              <a:t>27.01.25</a:t>
            </a:fld>
            <a:endParaRPr lang="en-CA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89C0FBA-71BD-3026-F678-D62D69D42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F7B7157D-CC1E-049E-3121-300A4FAD9EE3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sp>
        <p:nvSpPr>
          <p:cNvPr id="4" name="Rechteck 6">
            <a:extLst>
              <a:ext uri="{FF2B5EF4-FFF2-40B4-BE49-F238E27FC236}">
                <a16:creationId xmlns:a16="http://schemas.microsoft.com/office/drawing/2014/main" id="{84D281E3-2D83-A5AC-F035-AB31EF1F8221}"/>
              </a:ext>
            </a:extLst>
          </p:cNvPr>
          <p:cNvSpPr/>
          <p:nvPr userDrawn="1"/>
        </p:nvSpPr>
        <p:spPr bwMode="ltGray">
          <a:xfrm>
            <a:off x="0" y="0"/>
            <a:ext cx="3207657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CA"/>
          </a:p>
        </p:txBody>
      </p:sp>
      <p:grpSp>
        <p:nvGrpSpPr>
          <p:cNvPr id="46" name="Gruppieren 14">
            <a:extLst>
              <a:ext uri="{FF2B5EF4-FFF2-40B4-BE49-F238E27FC236}">
                <a16:creationId xmlns:a16="http://schemas.microsoft.com/office/drawing/2014/main" id="{7A5B37BE-600D-3858-D0E2-A4203BCF94AE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accent1"/>
          </a:solidFill>
        </p:grpSpPr>
        <p:sp>
          <p:nvSpPr>
            <p:cNvPr id="47" name="Freeform 7">
              <a:extLst>
                <a:ext uri="{FF2B5EF4-FFF2-40B4-BE49-F238E27FC236}">
                  <a16:creationId xmlns:a16="http://schemas.microsoft.com/office/drawing/2014/main" id="{7DB3670A-33D2-894A-4B00-D950267C9FD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Rectangle 8">
              <a:extLst>
                <a:ext uri="{FF2B5EF4-FFF2-40B4-BE49-F238E27FC236}">
                  <a16:creationId xmlns:a16="http://schemas.microsoft.com/office/drawing/2014/main" id="{7865F3BA-0941-D8BC-2A7B-21214ACF110D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Rectangle 9">
              <a:extLst>
                <a:ext uri="{FF2B5EF4-FFF2-40B4-BE49-F238E27FC236}">
                  <a16:creationId xmlns:a16="http://schemas.microsoft.com/office/drawing/2014/main" id="{F523ACFC-8CFC-25B5-37FF-2A969606C242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10">
              <a:extLst>
                <a:ext uri="{FF2B5EF4-FFF2-40B4-BE49-F238E27FC236}">
                  <a16:creationId xmlns:a16="http://schemas.microsoft.com/office/drawing/2014/main" id="{BE0B506B-4FF4-7B54-DBD7-53CDE157398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11">
              <a:extLst>
                <a:ext uri="{FF2B5EF4-FFF2-40B4-BE49-F238E27FC236}">
                  <a16:creationId xmlns:a16="http://schemas.microsoft.com/office/drawing/2014/main" id="{48EAF0F2-E5D5-AADA-E277-CD4C508492C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12">
              <a:extLst>
                <a:ext uri="{FF2B5EF4-FFF2-40B4-BE49-F238E27FC236}">
                  <a16:creationId xmlns:a16="http://schemas.microsoft.com/office/drawing/2014/main" id="{734144E7-7CCD-4721-ABA3-6BD158F3A95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13">
              <a:extLst>
                <a:ext uri="{FF2B5EF4-FFF2-40B4-BE49-F238E27FC236}">
                  <a16:creationId xmlns:a16="http://schemas.microsoft.com/office/drawing/2014/main" id="{E4F8A630-AF88-BA09-E472-D1B1A642DF5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14">
              <a:extLst>
                <a:ext uri="{FF2B5EF4-FFF2-40B4-BE49-F238E27FC236}">
                  <a16:creationId xmlns:a16="http://schemas.microsoft.com/office/drawing/2014/main" id="{4BD79CE0-7F1C-1049-8CF0-C93FF255D45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15">
              <a:extLst>
                <a:ext uri="{FF2B5EF4-FFF2-40B4-BE49-F238E27FC236}">
                  <a16:creationId xmlns:a16="http://schemas.microsoft.com/office/drawing/2014/main" id="{4F256713-518F-1111-4567-1EBEB3F671E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6" name="Freeform 16">
              <a:extLst>
                <a:ext uri="{FF2B5EF4-FFF2-40B4-BE49-F238E27FC236}">
                  <a16:creationId xmlns:a16="http://schemas.microsoft.com/office/drawing/2014/main" id="{80A26254-8B70-96E9-4EDE-A123C852B6B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17">
              <a:extLst>
                <a:ext uri="{FF2B5EF4-FFF2-40B4-BE49-F238E27FC236}">
                  <a16:creationId xmlns:a16="http://schemas.microsoft.com/office/drawing/2014/main" id="{DC0BE9A8-330E-11E2-7A03-2EE9D76883F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8" name="Freeform 18">
              <a:extLst>
                <a:ext uri="{FF2B5EF4-FFF2-40B4-BE49-F238E27FC236}">
                  <a16:creationId xmlns:a16="http://schemas.microsoft.com/office/drawing/2014/main" id="{23A619DF-556C-E520-9EBC-BEA5CD9C104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1" name="Freeform 19">
              <a:extLst>
                <a:ext uri="{FF2B5EF4-FFF2-40B4-BE49-F238E27FC236}">
                  <a16:creationId xmlns:a16="http://schemas.microsoft.com/office/drawing/2014/main" id="{04A6238B-53EF-20F4-6F92-A4AD1C1F478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2" name="Freeform 20">
              <a:extLst>
                <a:ext uri="{FF2B5EF4-FFF2-40B4-BE49-F238E27FC236}">
                  <a16:creationId xmlns:a16="http://schemas.microsoft.com/office/drawing/2014/main" id="{0AE07604-C9A3-8D85-5510-310FF2B60BB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3" name="Freeform 21">
              <a:extLst>
                <a:ext uri="{FF2B5EF4-FFF2-40B4-BE49-F238E27FC236}">
                  <a16:creationId xmlns:a16="http://schemas.microsoft.com/office/drawing/2014/main" id="{00CAAC1A-E736-44C3-159D-7028B1293A3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4" name="Freeform 22">
              <a:extLst>
                <a:ext uri="{FF2B5EF4-FFF2-40B4-BE49-F238E27FC236}">
                  <a16:creationId xmlns:a16="http://schemas.microsoft.com/office/drawing/2014/main" id="{A0412C8B-DCD2-9615-D934-1C209C37762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5" name="Freeform 23">
              <a:extLst>
                <a:ext uri="{FF2B5EF4-FFF2-40B4-BE49-F238E27FC236}">
                  <a16:creationId xmlns:a16="http://schemas.microsoft.com/office/drawing/2014/main" id="{27077822-9118-0B56-348F-69C4FD9258D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6" name="Freeform 24">
              <a:extLst>
                <a:ext uri="{FF2B5EF4-FFF2-40B4-BE49-F238E27FC236}">
                  <a16:creationId xmlns:a16="http://schemas.microsoft.com/office/drawing/2014/main" id="{B3B46281-6925-9B09-7ADC-29BB65CE32C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7" name="Freeform 25">
              <a:extLst>
                <a:ext uri="{FF2B5EF4-FFF2-40B4-BE49-F238E27FC236}">
                  <a16:creationId xmlns:a16="http://schemas.microsoft.com/office/drawing/2014/main" id="{402FB823-A8B7-CFC4-A2B5-DF9D0DD0B50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8" name="Freeform 26">
              <a:extLst>
                <a:ext uri="{FF2B5EF4-FFF2-40B4-BE49-F238E27FC236}">
                  <a16:creationId xmlns:a16="http://schemas.microsoft.com/office/drawing/2014/main" id="{E9C9D7F8-1DD6-BCA4-F839-DB3CCABF39A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9" name="Freeform 27">
              <a:extLst>
                <a:ext uri="{FF2B5EF4-FFF2-40B4-BE49-F238E27FC236}">
                  <a16:creationId xmlns:a16="http://schemas.microsoft.com/office/drawing/2014/main" id="{DF5D362F-28BC-D5AD-3803-2582A001A01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80" name="Freeform 28">
              <a:extLst>
                <a:ext uri="{FF2B5EF4-FFF2-40B4-BE49-F238E27FC236}">
                  <a16:creationId xmlns:a16="http://schemas.microsoft.com/office/drawing/2014/main" id="{B0196EBB-AF4D-3A2B-C92D-D305FFC2DD4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81" name="Freeform 29">
              <a:extLst>
                <a:ext uri="{FF2B5EF4-FFF2-40B4-BE49-F238E27FC236}">
                  <a16:creationId xmlns:a16="http://schemas.microsoft.com/office/drawing/2014/main" id="{69CD51E5-7846-0702-F251-E73A1662C24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20" name="Textplatzhalter 82">
            <a:extLst>
              <a:ext uri="{FF2B5EF4-FFF2-40B4-BE49-F238E27FC236}">
                <a16:creationId xmlns:a16="http://schemas.microsoft.com/office/drawing/2014/main" id="{F8B14F74-6C57-346D-F472-D8E5D600FFC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321451" y="2591136"/>
            <a:ext cx="3240000" cy="21544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opic 1</a:t>
            </a:r>
            <a:endParaRPr lang="en-CA" dirty="0"/>
          </a:p>
        </p:txBody>
      </p:sp>
      <p:sp>
        <p:nvSpPr>
          <p:cNvPr id="21" name="Textplatzhalter 82">
            <a:extLst>
              <a:ext uri="{FF2B5EF4-FFF2-40B4-BE49-F238E27FC236}">
                <a16:creationId xmlns:a16="http://schemas.microsoft.com/office/drawing/2014/main" id="{78836DFB-B4D6-B9C1-CEAA-37605EEA5FD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321451" y="2938873"/>
            <a:ext cx="3240000" cy="184666"/>
          </a:xfrm>
        </p:spPr>
        <p:txBody>
          <a:bodyPr wrap="square">
            <a:sp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Details (</a:t>
            </a:r>
            <a:r>
              <a:rPr lang="de-DE" err="1"/>
              <a:t>presenter</a:t>
            </a:r>
            <a:r>
              <a:rPr lang="de-DE"/>
              <a:t> / </a:t>
            </a:r>
            <a:r>
              <a:rPr lang="de-DE" err="1"/>
              <a:t>schedule</a:t>
            </a:r>
            <a:r>
              <a:rPr lang="de-DE"/>
              <a:t>)</a:t>
            </a:r>
            <a:endParaRPr lang="en-CA"/>
          </a:p>
        </p:txBody>
      </p:sp>
      <p:sp>
        <p:nvSpPr>
          <p:cNvPr id="22" name="Textplatzhalter 82">
            <a:extLst>
              <a:ext uri="{FF2B5EF4-FFF2-40B4-BE49-F238E27FC236}">
                <a16:creationId xmlns:a16="http://schemas.microsoft.com/office/drawing/2014/main" id="{CCBF9747-F5AB-F3FB-C71B-129A2F3A94B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321451" y="3572059"/>
            <a:ext cx="3240000" cy="21544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2</a:t>
            </a:r>
            <a:endParaRPr lang="en-CA"/>
          </a:p>
        </p:txBody>
      </p:sp>
      <p:sp>
        <p:nvSpPr>
          <p:cNvPr id="23" name="Textplatzhalter 82">
            <a:extLst>
              <a:ext uri="{FF2B5EF4-FFF2-40B4-BE49-F238E27FC236}">
                <a16:creationId xmlns:a16="http://schemas.microsoft.com/office/drawing/2014/main" id="{158942FA-3055-FB58-988A-B53D9D33A7F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321451" y="3919796"/>
            <a:ext cx="3240000" cy="184666"/>
          </a:xfrm>
        </p:spPr>
        <p:txBody>
          <a:bodyPr wrap="square">
            <a:sp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Details (</a:t>
            </a:r>
            <a:r>
              <a:rPr lang="de-DE" err="1"/>
              <a:t>presenter</a:t>
            </a:r>
            <a:r>
              <a:rPr lang="de-DE"/>
              <a:t> / </a:t>
            </a:r>
            <a:r>
              <a:rPr lang="de-DE" err="1"/>
              <a:t>schedule</a:t>
            </a:r>
            <a:r>
              <a:rPr lang="de-DE"/>
              <a:t>)</a:t>
            </a:r>
            <a:endParaRPr lang="en-CA"/>
          </a:p>
        </p:txBody>
      </p:sp>
      <p:sp>
        <p:nvSpPr>
          <p:cNvPr id="24" name="Textplatzhalter 82">
            <a:extLst>
              <a:ext uri="{FF2B5EF4-FFF2-40B4-BE49-F238E27FC236}">
                <a16:creationId xmlns:a16="http://schemas.microsoft.com/office/drawing/2014/main" id="{A3CF7C4C-2D06-834B-0097-E50437FBA13E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1451" y="4552982"/>
            <a:ext cx="3240000" cy="21544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3</a:t>
            </a:r>
            <a:endParaRPr lang="en-CA"/>
          </a:p>
        </p:txBody>
      </p:sp>
      <p:sp>
        <p:nvSpPr>
          <p:cNvPr id="25" name="Textplatzhalter 82">
            <a:extLst>
              <a:ext uri="{FF2B5EF4-FFF2-40B4-BE49-F238E27FC236}">
                <a16:creationId xmlns:a16="http://schemas.microsoft.com/office/drawing/2014/main" id="{278693DD-F787-733E-5D35-7AABA7DCA7C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321451" y="4900719"/>
            <a:ext cx="3240000" cy="184666"/>
          </a:xfrm>
        </p:spPr>
        <p:txBody>
          <a:bodyPr wrap="square">
            <a:sp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Details (</a:t>
            </a:r>
            <a:r>
              <a:rPr lang="de-DE" err="1"/>
              <a:t>presenter</a:t>
            </a:r>
            <a:r>
              <a:rPr lang="de-DE"/>
              <a:t> / </a:t>
            </a:r>
            <a:r>
              <a:rPr lang="de-DE" err="1"/>
              <a:t>schedule</a:t>
            </a:r>
            <a:r>
              <a:rPr lang="de-DE"/>
              <a:t>)</a:t>
            </a:r>
            <a:endParaRPr lang="en-CA"/>
          </a:p>
        </p:txBody>
      </p:sp>
      <p:sp>
        <p:nvSpPr>
          <p:cNvPr id="26" name="Textplatzhalter 82">
            <a:extLst>
              <a:ext uri="{FF2B5EF4-FFF2-40B4-BE49-F238E27FC236}">
                <a16:creationId xmlns:a16="http://schemas.microsoft.com/office/drawing/2014/main" id="{7A8A61C0-834B-A46E-EFDB-B74DF2249FC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4321451" y="5533905"/>
            <a:ext cx="3240000" cy="21544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4</a:t>
            </a:r>
            <a:endParaRPr lang="en-CA"/>
          </a:p>
        </p:txBody>
      </p:sp>
      <p:sp>
        <p:nvSpPr>
          <p:cNvPr id="27" name="Textplatzhalter 82">
            <a:extLst>
              <a:ext uri="{FF2B5EF4-FFF2-40B4-BE49-F238E27FC236}">
                <a16:creationId xmlns:a16="http://schemas.microsoft.com/office/drawing/2014/main" id="{8BE5AC7C-2B17-31FD-5B69-480959E9592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321451" y="5881642"/>
            <a:ext cx="3240000" cy="184666"/>
          </a:xfrm>
        </p:spPr>
        <p:txBody>
          <a:bodyPr wrap="square">
            <a:sp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Details (</a:t>
            </a:r>
            <a:r>
              <a:rPr lang="de-DE" err="1"/>
              <a:t>presenter</a:t>
            </a:r>
            <a:r>
              <a:rPr lang="de-DE"/>
              <a:t> / </a:t>
            </a:r>
            <a:r>
              <a:rPr lang="de-DE" err="1"/>
              <a:t>schedule</a:t>
            </a:r>
            <a:r>
              <a:rPr lang="de-DE"/>
              <a:t>)</a:t>
            </a:r>
            <a:endParaRPr lang="en-CA"/>
          </a:p>
        </p:txBody>
      </p:sp>
      <p:sp>
        <p:nvSpPr>
          <p:cNvPr id="28" name="Textplatzhalter 82">
            <a:extLst>
              <a:ext uri="{FF2B5EF4-FFF2-40B4-BE49-F238E27FC236}">
                <a16:creationId xmlns:a16="http://schemas.microsoft.com/office/drawing/2014/main" id="{22028DD5-9808-39F2-70BD-D34E582352E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589931" y="2553355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1</a:t>
            </a:r>
            <a:endParaRPr lang="en-CA"/>
          </a:p>
        </p:txBody>
      </p:sp>
      <p:sp>
        <p:nvSpPr>
          <p:cNvPr id="29" name="Textplatzhalter 82">
            <a:extLst>
              <a:ext uri="{FF2B5EF4-FFF2-40B4-BE49-F238E27FC236}">
                <a16:creationId xmlns:a16="http://schemas.microsoft.com/office/drawing/2014/main" id="{298406EA-020A-99C9-2F7B-A69145A9724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589931" y="3526084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2</a:t>
            </a:r>
            <a:endParaRPr lang="en-CA"/>
          </a:p>
        </p:txBody>
      </p:sp>
      <p:sp>
        <p:nvSpPr>
          <p:cNvPr id="30" name="Textplatzhalter 82">
            <a:extLst>
              <a:ext uri="{FF2B5EF4-FFF2-40B4-BE49-F238E27FC236}">
                <a16:creationId xmlns:a16="http://schemas.microsoft.com/office/drawing/2014/main" id="{EE110A93-39A1-1EDC-7A3B-586BA6FFCB9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589931" y="4498813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3</a:t>
            </a:r>
            <a:endParaRPr lang="en-CA"/>
          </a:p>
        </p:txBody>
      </p:sp>
      <p:sp>
        <p:nvSpPr>
          <p:cNvPr id="31" name="Textplatzhalter 82">
            <a:extLst>
              <a:ext uri="{FF2B5EF4-FFF2-40B4-BE49-F238E27FC236}">
                <a16:creationId xmlns:a16="http://schemas.microsoft.com/office/drawing/2014/main" id="{BC10C928-3B0D-BE5F-BC7B-3A798FEE7FC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589931" y="5471542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4</a:t>
            </a:r>
            <a:endParaRPr lang="en-CA"/>
          </a:p>
        </p:txBody>
      </p:sp>
      <p:sp>
        <p:nvSpPr>
          <p:cNvPr id="9" name="Textplatzhalter 82">
            <a:extLst>
              <a:ext uri="{FF2B5EF4-FFF2-40B4-BE49-F238E27FC236}">
                <a16:creationId xmlns:a16="http://schemas.microsoft.com/office/drawing/2014/main" id="{8F61DB63-4293-941D-9868-E8DB0957586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544015" y="2591136"/>
            <a:ext cx="3240000" cy="21544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5</a:t>
            </a:r>
            <a:endParaRPr lang="en-CA"/>
          </a:p>
        </p:txBody>
      </p:sp>
      <p:sp>
        <p:nvSpPr>
          <p:cNvPr id="10" name="Textplatzhalter 82">
            <a:extLst>
              <a:ext uri="{FF2B5EF4-FFF2-40B4-BE49-F238E27FC236}">
                <a16:creationId xmlns:a16="http://schemas.microsoft.com/office/drawing/2014/main" id="{D21BFD28-0246-1174-12E7-0462C5E26BA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8544015" y="2938873"/>
            <a:ext cx="3240000" cy="184666"/>
          </a:xfrm>
        </p:spPr>
        <p:txBody>
          <a:bodyPr wrap="square">
            <a:sp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Details (</a:t>
            </a:r>
            <a:r>
              <a:rPr lang="de-DE" err="1"/>
              <a:t>presenter</a:t>
            </a:r>
            <a:r>
              <a:rPr lang="de-DE"/>
              <a:t> / </a:t>
            </a:r>
            <a:r>
              <a:rPr lang="de-DE" err="1"/>
              <a:t>schedule</a:t>
            </a:r>
            <a:r>
              <a:rPr lang="de-DE"/>
              <a:t>)</a:t>
            </a:r>
            <a:endParaRPr lang="en-CA"/>
          </a:p>
        </p:txBody>
      </p:sp>
      <p:sp>
        <p:nvSpPr>
          <p:cNvPr id="11" name="Textplatzhalter 82">
            <a:extLst>
              <a:ext uri="{FF2B5EF4-FFF2-40B4-BE49-F238E27FC236}">
                <a16:creationId xmlns:a16="http://schemas.microsoft.com/office/drawing/2014/main" id="{032842A2-E475-A241-1893-1BE40833D540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544015" y="3572059"/>
            <a:ext cx="3240000" cy="21544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6</a:t>
            </a:r>
            <a:endParaRPr lang="en-CA"/>
          </a:p>
        </p:txBody>
      </p:sp>
      <p:sp>
        <p:nvSpPr>
          <p:cNvPr id="12" name="Textplatzhalter 82">
            <a:extLst>
              <a:ext uri="{FF2B5EF4-FFF2-40B4-BE49-F238E27FC236}">
                <a16:creationId xmlns:a16="http://schemas.microsoft.com/office/drawing/2014/main" id="{04B2A651-E850-C9F2-383C-0CAE242A0C2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544015" y="3919796"/>
            <a:ext cx="3240000" cy="184666"/>
          </a:xfrm>
        </p:spPr>
        <p:txBody>
          <a:bodyPr wrap="square">
            <a:sp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Details (</a:t>
            </a:r>
            <a:r>
              <a:rPr lang="de-DE" err="1"/>
              <a:t>presenter</a:t>
            </a:r>
            <a:r>
              <a:rPr lang="de-DE"/>
              <a:t> / </a:t>
            </a:r>
            <a:r>
              <a:rPr lang="de-DE" err="1"/>
              <a:t>schedule</a:t>
            </a:r>
            <a:r>
              <a:rPr lang="de-DE"/>
              <a:t>)</a:t>
            </a:r>
            <a:endParaRPr lang="en-CA"/>
          </a:p>
        </p:txBody>
      </p:sp>
      <p:sp>
        <p:nvSpPr>
          <p:cNvPr id="13" name="Textplatzhalter 82">
            <a:extLst>
              <a:ext uri="{FF2B5EF4-FFF2-40B4-BE49-F238E27FC236}">
                <a16:creationId xmlns:a16="http://schemas.microsoft.com/office/drawing/2014/main" id="{901A478B-77C0-167C-92D6-3DD9E29D76F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544015" y="4552982"/>
            <a:ext cx="3240000" cy="21544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7</a:t>
            </a:r>
            <a:endParaRPr lang="en-CA"/>
          </a:p>
        </p:txBody>
      </p:sp>
      <p:sp>
        <p:nvSpPr>
          <p:cNvPr id="14" name="Textplatzhalter 82">
            <a:extLst>
              <a:ext uri="{FF2B5EF4-FFF2-40B4-BE49-F238E27FC236}">
                <a16:creationId xmlns:a16="http://schemas.microsoft.com/office/drawing/2014/main" id="{1D179949-4979-7CC1-C510-BE1B49D7D409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544015" y="4900719"/>
            <a:ext cx="3240000" cy="184666"/>
          </a:xfrm>
        </p:spPr>
        <p:txBody>
          <a:bodyPr wrap="square">
            <a:sp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Details (</a:t>
            </a:r>
            <a:r>
              <a:rPr lang="de-DE" err="1"/>
              <a:t>presenter</a:t>
            </a:r>
            <a:r>
              <a:rPr lang="de-DE"/>
              <a:t> / </a:t>
            </a:r>
            <a:r>
              <a:rPr lang="de-DE" err="1"/>
              <a:t>schedule</a:t>
            </a:r>
            <a:r>
              <a:rPr lang="de-DE"/>
              <a:t>)</a:t>
            </a:r>
            <a:endParaRPr lang="en-CA"/>
          </a:p>
        </p:txBody>
      </p:sp>
      <p:sp>
        <p:nvSpPr>
          <p:cNvPr id="15" name="Textplatzhalter 82">
            <a:extLst>
              <a:ext uri="{FF2B5EF4-FFF2-40B4-BE49-F238E27FC236}">
                <a16:creationId xmlns:a16="http://schemas.microsoft.com/office/drawing/2014/main" id="{48BD02CA-B8AE-7A96-6D52-CFFF41E5FB3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544015" y="5533905"/>
            <a:ext cx="3240000" cy="21544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8</a:t>
            </a:r>
            <a:endParaRPr lang="en-CA"/>
          </a:p>
        </p:txBody>
      </p:sp>
      <p:sp>
        <p:nvSpPr>
          <p:cNvPr id="16" name="Textplatzhalter 82">
            <a:extLst>
              <a:ext uri="{FF2B5EF4-FFF2-40B4-BE49-F238E27FC236}">
                <a16:creationId xmlns:a16="http://schemas.microsoft.com/office/drawing/2014/main" id="{8DB559E8-6705-CBF4-55C0-6A6486028ED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544015" y="5881642"/>
            <a:ext cx="3240000" cy="184666"/>
          </a:xfrm>
        </p:spPr>
        <p:txBody>
          <a:bodyPr wrap="square">
            <a:sp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Details (</a:t>
            </a:r>
            <a:r>
              <a:rPr lang="de-DE" err="1"/>
              <a:t>presenter</a:t>
            </a:r>
            <a:r>
              <a:rPr lang="de-DE"/>
              <a:t> / </a:t>
            </a:r>
            <a:r>
              <a:rPr lang="de-DE" err="1"/>
              <a:t>schedule</a:t>
            </a:r>
            <a:r>
              <a:rPr lang="de-DE"/>
              <a:t>)</a:t>
            </a:r>
            <a:endParaRPr lang="en-CA"/>
          </a:p>
        </p:txBody>
      </p:sp>
      <p:sp>
        <p:nvSpPr>
          <p:cNvPr id="17" name="Textplatzhalter 82">
            <a:extLst>
              <a:ext uri="{FF2B5EF4-FFF2-40B4-BE49-F238E27FC236}">
                <a16:creationId xmlns:a16="http://schemas.microsoft.com/office/drawing/2014/main" id="{11923B8F-1A6C-A061-D257-A30202B38923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812495" y="2553355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5</a:t>
            </a:r>
            <a:endParaRPr lang="en-CA"/>
          </a:p>
        </p:txBody>
      </p:sp>
      <p:sp>
        <p:nvSpPr>
          <p:cNvPr id="18" name="Textplatzhalter 82">
            <a:extLst>
              <a:ext uri="{FF2B5EF4-FFF2-40B4-BE49-F238E27FC236}">
                <a16:creationId xmlns:a16="http://schemas.microsoft.com/office/drawing/2014/main" id="{53B4E863-0A53-060A-9D5D-C351DCC8C70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7812495" y="3526084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6</a:t>
            </a:r>
            <a:endParaRPr lang="en-CA"/>
          </a:p>
        </p:txBody>
      </p:sp>
      <p:sp>
        <p:nvSpPr>
          <p:cNvPr id="19" name="Textplatzhalter 82">
            <a:extLst>
              <a:ext uri="{FF2B5EF4-FFF2-40B4-BE49-F238E27FC236}">
                <a16:creationId xmlns:a16="http://schemas.microsoft.com/office/drawing/2014/main" id="{BA5F0E68-8370-DD0F-1DB9-FF6FD38C0E57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7812495" y="4498813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7</a:t>
            </a:r>
            <a:endParaRPr lang="en-CA"/>
          </a:p>
        </p:txBody>
      </p:sp>
      <p:sp>
        <p:nvSpPr>
          <p:cNvPr id="33" name="Textplatzhalter 82">
            <a:extLst>
              <a:ext uri="{FF2B5EF4-FFF2-40B4-BE49-F238E27FC236}">
                <a16:creationId xmlns:a16="http://schemas.microsoft.com/office/drawing/2014/main" id="{E6375F3F-F1FE-A9CA-7486-868024427968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7812495" y="5471542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8</a:t>
            </a:r>
            <a:endParaRPr lang="en-CA"/>
          </a:p>
        </p:txBody>
      </p:sp>
      <p:sp>
        <p:nvSpPr>
          <p:cNvPr id="34" name="Rechteck 44">
            <a:extLst>
              <a:ext uri="{FF2B5EF4-FFF2-40B4-BE49-F238E27FC236}">
                <a16:creationId xmlns:a16="http://schemas.microsoft.com/office/drawing/2014/main" id="{59A8EABC-5E02-2596-9F9B-049521178CC7}"/>
              </a:ext>
            </a:extLst>
          </p:cNvPr>
          <p:cNvSpPr/>
          <p:nvPr userDrawn="1"/>
        </p:nvSpPr>
        <p:spPr>
          <a:xfrm>
            <a:off x="12341678" y="0"/>
            <a:ext cx="301275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8377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white_single lin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A39D31F-72A1-9494-80EA-D2C514D6A5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998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39D31F-72A1-9494-80EA-D2C514D6A5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844B8E79-04A7-CD98-8EF6-E212565A1125}"/>
              </a:ext>
            </a:extLst>
          </p:cNvPr>
          <p:cNvSpPr/>
          <p:nvPr userDrawn="1"/>
        </p:nvSpPr>
        <p:spPr bwMode="white">
          <a:xfrm>
            <a:off x="3207657" y="0"/>
            <a:ext cx="898434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CA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2C73B73-121B-A755-A619-61DA9EB430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931" y="1484313"/>
            <a:ext cx="3490912" cy="677108"/>
          </a:xfrm>
        </p:spPr>
        <p:txBody>
          <a:bodyPr vert="horz"/>
          <a:lstStyle>
            <a:lvl1pPr>
              <a:defRPr sz="4400"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genda</a:t>
            </a:r>
            <a:endParaRPr lang="en-CA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7C8D850-AF7E-8F4D-CEF3-B47C121EC3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2713B47-FDFD-44F6-B33D-CFB4326DB920}" type="datetime1">
              <a:rPr lang="de-DE" smtClean="0"/>
              <a:t>27.01.25</a:t>
            </a:fld>
            <a:endParaRPr lang="en-CA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89C0FBA-71BD-3026-F678-D62D69D42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33" name="Textplatzhalter 82">
            <a:extLst>
              <a:ext uri="{FF2B5EF4-FFF2-40B4-BE49-F238E27FC236}">
                <a16:creationId xmlns:a16="http://schemas.microsoft.com/office/drawing/2014/main" id="{A97F140C-BFE8-963B-D19E-1EFD85B099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1451" y="2667901"/>
            <a:ext cx="3240000" cy="215444"/>
          </a:xfrm>
        </p:spPr>
        <p:txBody>
          <a:bodyPr wrap="square" anchor="ctr">
            <a:sp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1</a:t>
            </a:r>
            <a:endParaRPr lang="en-CA"/>
          </a:p>
        </p:txBody>
      </p:sp>
      <p:sp>
        <p:nvSpPr>
          <p:cNvPr id="39" name="Textplatzhalter 82">
            <a:extLst>
              <a:ext uri="{FF2B5EF4-FFF2-40B4-BE49-F238E27FC236}">
                <a16:creationId xmlns:a16="http://schemas.microsoft.com/office/drawing/2014/main" id="{205C866F-DD78-4586-9BC6-8FFF566CFA8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21451" y="3640021"/>
            <a:ext cx="3240000" cy="215444"/>
          </a:xfrm>
        </p:spPr>
        <p:txBody>
          <a:bodyPr wrap="square" anchor="ctr">
            <a:sp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2</a:t>
            </a:r>
            <a:endParaRPr lang="en-CA"/>
          </a:p>
        </p:txBody>
      </p:sp>
      <p:sp>
        <p:nvSpPr>
          <p:cNvPr id="41" name="Textplatzhalter 82">
            <a:extLst>
              <a:ext uri="{FF2B5EF4-FFF2-40B4-BE49-F238E27FC236}">
                <a16:creationId xmlns:a16="http://schemas.microsoft.com/office/drawing/2014/main" id="{C4A254AA-CF8F-1BE8-1407-8542795AD69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21451" y="4612141"/>
            <a:ext cx="3240000" cy="215444"/>
          </a:xfrm>
        </p:spPr>
        <p:txBody>
          <a:bodyPr wrap="square" anchor="ctr">
            <a:sp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3</a:t>
            </a:r>
            <a:endParaRPr lang="en-CA"/>
          </a:p>
        </p:txBody>
      </p:sp>
      <p:sp>
        <p:nvSpPr>
          <p:cNvPr id="43" name="Textplatzhalter 82">
            <a:extLst>
              <a:ext uri="{FF2B5EF4-FFF2-40B4-BE49-F238E27FC236}">
                <a16:creationId xmlns:a16="http://schemas.microsoft.com/office/drawing/2014/main" id="{8BAD9667-9CFE-1A27-BEC6-CECC733A4BE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21451" y="5584262"/>
            <a:ext cx="3240000" cy="215444"/>
          </a:xfrm>
        </p:spPr>
        <p:txBody>
          <a:bodyPr wrap="square" anchor="ctr">
            <a:sp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4</a:t>
            </a:r>
            <a:endParaRPr lang="en-CA"/>
          </a:p>
        </p:txBody>
      </p:sp>
      <p:sp>
        <p:nvSpPr>
          <p:cNvPr id="59" name="Textplatzhalter 82">
            <a:extLst>
              <a:ext uri="{FF2B5EF4-FFF2-40B4-BE49-F238E27FC236}">
                <a16:creationId xmlns:a16="http://schemas.microsoft.com/office/drawing/2014/main" id="{2DF00482-BFD1-5AA4-69CE-F92494809AC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544013" y="2667901"/>
            <a:ext cx="3240000" cy="215444"/>
          </a:xfrm>
        </p:spPr>
        <p:txBody>
          <a:bodyPr wrap="square" anchor="ctr">
            <a:sp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1</a:t>
            </a:r>
            <a:endParaRPr lang="en-CA"/>
          </a:p>
        </p:txBody>
      </p:sp>
      <p:sp>
        <p:nvSpPr>
          <p:cNvPr id="65" name="Textplatzhalter 82">
            <a:extLst>
              <a:ext uri="{FF2B5EF4-FFF2-40B4-BE49-F238E27FC236}">
                <a16:creationId xmlns:a16="http://schemas.microsoft.com/office/drawing/2014/main" id="{FB2B30A6-A551-2225-6488-47598A8226E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544013" y="3640021"/>
            <a:ext cx="3240000" cy="215444"/>
          </a:xfrm>
        </p:spPr>
        <p:txBody>
          <a:bodyPr wrap="square" anchor="ctr">
            <a:sp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1</a:t>
            </a:r>
            <a:endParaRPr lang="en-CA"/>
          </a:p>
        </p:txBody>
      </p:sp>
      <p:sp>
        <p:nvSpPr>
          <p:cNvPr id="67" name="Textplatzhalter 82">
            <a:extLst>
              <a:ext uri="{FF2B5EF4-FFF2-40B4-BE49-F238E27FC236}">
                <a16:creationId xmlns:a16="http://schemas.microsoft.com/office/drawing/2014/main" id="{70CF5577-6A0E-ACB5-FA18-BBB0D692827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544013" y="4612141"/>
            <a:ext cx="3240000" cy="215444"/>
          </a:xfrm>
        </p:spPr>
        <p:txBody>
          <a:bodyPr wrap="square" anchor="ctr">
            <a:sp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1</a:t>
            </a:r>
            <a:endParaRPr lang="en-CA"/>
          </a:p>
        </p:txBody>
      </p:sp>
      <p:sp>
        <p:nvSpPr>
          <p:cNvPr id="69" name="Textplatzhalter 82">
            <a:extLst>
              <a:ext uri="{FF2B5EF4-FFF2-40B4-BE49-F238E27FC236}">
                <a16:creationId xmlns:a16="http://schemas.microsoft.com/office/drawing/2014/main" id="{BCFC2250-FCD1-4E95-AFA5-42B1E071F74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544013" y="5584262"/>
            <a:ext cx="3240000" cy="215444"/>
          </a:xfrm>
        </p:spPr>
        <p:txBody>
          <a:bodyPr wrap="square" anchor="ctr">
            <a:sp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1</a:t>
            </a:r>
            <a:endParaRPr lang="en-CA"/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F7B7157D-CC1E-049E-3121-300A4FAD9EE3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sp>
        <p:nvSpPr>
          <p:cNvPr id="4" name="Rechteck 6">
            <a:extLst>
              <a:ext uri="{FF2B5EF4-FFF2-40B4-BE49-F238E27FC236}">
                <a16:creationId xmlns:a16="http://schemas.microsoft.com/office/drawing/2014/main" id="{84D281E3-2D83-A5AC-F035-AB31EF1F8221}"/>
              </a:ext>
            </a:extLst>
          </p:cNvPr>
          <p:cNvSpPr/>
          <p:nvPr userDrawn="1"/>
        </p:nvSpPr>
        <p:spPr bwMode="ltGray">
          <a:xfrm>
            <a:off x="0" y="0"/>
            <a:ext cx="3207657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CA"/>
          </a:p>
        </p:txBody>
      </p:sp>
      <p:grpSp>
        <p:nvGrpSpPr>
          <p:cNvPr id="46" name="Gruppieren 14">
            <a:extLst>
              <a:ext uri="{FF2B5EF4-FFF2-40B4-BE49-F238E27FC236}">
                <a16:creationId xmlns:a16="http://schemas.microsoft.com/office/drawing/2014/main" id="{7A5B37BE-600D-3858-D0E2-A4203BCF94AE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accent1"/>
          </a:solidFill>
        </p:grpSpPr>
        <p:sp>
          <p:nvSpPr>
            <p:cNvPr id="47" name="Freeform 7">
              <a:extLst>
                <a:ext uri="{FF2B5EF4-FFF2-40B4-BE49-F238E27FC236}">
                  <a16:creationId xmlns:a16="http://schemas.microsoft.com/office/drawing/2014/main" id="{7DB3670A-33D2-894A-4B00-D950267C9FD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Rectangle 8">
              <a:extLst>
                <a:ext uri="{FF2B5EF4-FFF2-40B4-BE49-F238E27FC236}">
                  <a16:creationId xmlns:a16="http://schemas.microsoft.com/office/drawing/2014/main" id="{7865F3BA-0941-D8BC-2A7B-21214ACF110D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Rectangle 9">
              <a:extLst>
                <a:ext uri="{FF2B5EF4-FFF2-40B4-BE49-F238E27FC236}">
                  <a16:creationId xmlns:a16="http://schemas.microsoft.com/office/drawing/2014/main" id="{F523ACFC-8CFC-25B5-37FF-2A969606C242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10">
              <a:extLst>
                <a:ext uri="{FF2B5EF4-FFF2-40B4-BE49-F238E27FC236}">
                  <a16:creationId xmlns:a16="http://schemas.microsoft.com/office/drawing/2014/main" id="{BE0B506B-4FF4-7B54-DBD7-53CDE157398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11">
              <a:extLst>
                <a:ext uri="{FF2B5EF4-FFF2-40B4-BE49-F238E27FC236}">
                  <a16:creationId xmlns:a16="http://schemas.microsoft.com/office/drawing/2014/main" id="{48EAF0F2-E5D5-AADA-E277-CD4C508492C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12">
              <a:extLst>
                <a:ext uri="{FF2B5EF4-FFF2-40B4-BE49-F238E27FC236}">
                  <a16:creationId xmlns:a16="http://schemas.microsoft.com/office/drawing/2014/main" id="{734144E7-7CCD-4721-ABA3-6BD158F3A95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13">
              <a:extLst>
                <a:ext uri="{FF2B5EF4-FFF2-40B4-BE49-F238E27FC236}">
                  <a16:creationId xmlns:a16="http://schemas.microsoft.com/office/drawing/2014/main" id="{E4F8A630-AF88-BA09-E472-D1B1A642DF5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14">
              <a:extLst>
                <a:ext uri="{FF2B5EF4-FFF2-40B4-BE49-F238E27FC236}">
                  <a16:creationId xmlns:a16="http://schemas.microsoft.com/office/drawing/2014/main" id="{4BD79CE0-7F1C-1049-8CF0-C93FF255D45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15">
              <a:extLst>
                <a:ext uri="{FF2B5EF4-FFF2-40B4-BE49-F238E27FC236}">
                  <a16:creationId xmlns:a16="http://schemas.microsoft.com/office/drawing/2014/main" id="{4F256713-518F-1111-4567-1EBEB3F671E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6" name="Freeform 16">
              <a:extLst>
                <a:ext uri="{FF2B5EF4-FFF2-40B4-BE49-F238E27FC236}">
                  <a16:creationId xmlns:a16="http://schemas.microsoft.com/office/drawing/2014/main" id="{80A26254-8B70-96E9-4EDE-A123C852B6B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17">
              <a:extLst>
                <a:ext uri="{FF2B5EF4-FFF2-40B4-BE49-F238E27FC236}">
                  <a16:creationId xmlns:a16="http://schemas.microsoft.com/office/drawing/2014/main" id="{DC0BE9A8-330E-11E2-7A03-2EE9D76883F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8" name="Freeform 18">
              <a:extLst>
                <a:ext uri="{FF2B5EF4-FFF2-40B4-BE49-F238E27FC236}">
                  <a16:creationId xmlns:a16="http://schemas.microsoft.com/office/drawing/2014/main" id="{23A619DF-556C-E520-9EBC-BEA5CD9C104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1" name="Freeform 19">
              <a:extLst>
                <a:ext uri="{FF2B5EF4-FFF2-40B4-BE49-F238E27FC236}">
                  <a16:creationId xmlns:a16="http://schemas.microsoft.com/office/drawing/2014/main" id="{04A6238B-53EF-20F4-6F92-A4AD1C1F478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2" name="Freeform 20">
              <a:extLst>
                <a:ext uri="{FF2B5EF4-FFF2-40B4-BE49-F238E27FC236}">
                  <a16:creationId xmlns:a16="http://schemas.microsoft.com/office/drawing/2014/main" id="{0AE07604-C9A3-8D85-5510-310FF2B60BB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3" name="Freeform 21">
              <a:extLst>
                <a:ext uri="{FF2B5EF4-FFF2-40B4-BE49-F238E27FC236}">
                  <a16:creationId xmlns:a16="http://schemas.microsoft.com/office/drawing/2014/main" id="{00CAAC1A-E736-44C3-159D-7028B1293A3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4" name="Freeform 22">
              <a:extLst>
                <a:ext uri="{FF2B5EF4-FFF2-40B4-BE49-F238E27FC236}">
                  <a16:creationId xmlns:a16="http://schemas.microsoft.com/office/drawing/2014/main" id="{A0412C8B-DCD2-9615-D934-1C209C37762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5" name="Freeform 23">
              <a:extLst>
                <a:ext uri="{FF2B5EF4-FFF2-40B4-BE49-F238E27FC236}">
                  <a16:creationId xmlns:a16="http://schemas.microsoft.com/office/drawing/2014/main" id="{27077822-9118-0B56-348F-69C4FD9258D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6" name="Freeform 24">
              <a:extLst>
                <a:ext uri="{FF2B5EF4-FFF2-40B4-BE49-F238E27FC236}">
                  <a16:creationId xmlns:a16="http://schemas.microsoft.com/office/drawing/2014/main" id="{B3B46281-6925-9B09-7ADC-29BB65CE32C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7" name="Freeform 25">
              <a:extLst>
                <a:ext uri="{FF2B5EF4-FFF2-40B4-BE49-F238E27FC236}">
                  <a16:creationId xmlns:a16="http://schemas.microsoft.com/office/drawing/2014/main" id="{402FB823-A8B7-CFC4-A2B5-DF9D0DD0B50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8" name="Freeform 26">
              <a:extLst>
                <a:ext uri="{FF2B5EF4-FFF2-40B4-BE49-F238E27FC236}">
                  <a16:creationId xmlns:a16="http://schemas.microsoft.com/office/drawing/2014/main" id="{E9C9D7F8-1DD6-BCA4-F839-DB3CCABF39A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9" name="Freeform 27">
              <a:extLst>
                <a:ext uri="{FF2B5EF4-FFF2-40B4-BE49-F238E27FC236}">
                  <a16:creationId xmlns:a16="http://schemas.microsoft.com/office/drawing/2014/main" id="{DF5D362F-28BC-D5AD-3803-2582A001A01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80" name="Freeform 28">
              <a:extLst>
                <a:ext uri="{FF2B5EF4-FFF2-40B4-BE49-F238E27FC236}">
                  <a16:creationId xmlns:a16="http://schemas.microsoft.com/office/drawing/2014/main" id="{B0196EBB-AF4D-3A2B-C92D-D305FFC2DD4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81" name="Freeform 29">
              <a:extLst>
                <a:ext uri="{FF2B5EF4-FFF2-40B4-BE49-F238E27FC236}">
                  <a16:creationId xmlns:a16="http://schemas.microsoft.com/office/drawing/2014/main" id="{69CD51E5-7846-0702-F251-E73A1662C24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8" name="Textplatzhalter 82">
            <a:extLst>
              <a:ext uri="{FF2B5EF4-FFF2-40B4-BE49-F238E27FC236}">
                <a16:creationId xmlns:a16="http://schemas.microsoft.com/office/drawing/2014/main" id="{6C169C98-562C-BE4A-D914-3DBD651F62E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589931" y="2553355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1</a:t>
            </a:r>
            <a:endParaRPr lang="en-CA"/>
          </a:p>
        </p:txBody>
      </p:sp>
      <p:sp>
        <p:nvSpPr>
          <p:cNvPr id="9" name="Textplatzhalter 82">
            <a:extLst>
              <a:ext uri="{FF2B5EF4-FFF2-40B4-BE49-F238E27FC236}">
                <a16:creationId xmlns:a16="http://schemas.microsoft.com/office/drawing/2014/main" id="{3AF97E2C-0C21-B3E3-CBCF-8BCB7DCBCF0E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589931" y="3526084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2</a:t>
            </a:r>
            <a:endParaRPr lang="en-CA"/>
          </a:p>
        </p:txBody>
      </p:sp>
      <p:sp>
        <p:nvSpPr>
          <p:cNvPr id="10" name="Textplatzhalter 82">
            <a:extLst>
              <a:ext uri="{FF2B5EF4-FFF2-40B4-BE49-F238E27FC236}">
                <a16:creationId xmlns:a16="http://schemas.microsoft.com/office/drawing/2014/main" id="{C3991D1F-6706-8532-4483-4C4E11B48C9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589931" y="4498813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3</a:t>
            </a:r>
            <a:endParaRPr lang="en-CA"/>
          </a:p>
        </p:txBody>
      </p:sp>
      <p:sp>
        <p:nvSpPr>
          <p:cNvPr id="12" name="Textplatzhalter 82">
            <a:extLst>
              <a:ext uri="{FF2B5EF4-FFF2-40B4-BE49-F238E27FC236}">
                <a16:creationId xmlns:a16="http://schemas.microsoft.com/office/drawing/2014/main" id="{76AFC6C0-5369-D2B2-49E0-BCCFE580441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589931" y="5471542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4</a:t>
            </a:r>
            <a:endParaRPr lang="en-CA"/>
          </a:p>
        </p:txBody>
      </p:sp>
      <p:sp>
        <p:nvSpPr>
          <p:cNvPr id="13" name="Textplatzhalter 82">
            <a:extLst>
              <a:ext uri="{FF2B5EF4-FFF2-40B4-BE49-F238E27FC236}">
                <a16:creationId xmlns:a16="http://schemas.microsoft.com/office/drawing/2014/main" id="{53264C9A-91D5-95C9-318C-CBFFB4D2996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812495" y="2553355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5</a:t>
            </a:r>
            <a:endParaRPr lang="en-CA"/>
          </a:p>
        </p:txBody>
      </p:sp>
      <p:sp>
        <p:nvSpPr>
          <p:cNvPr id="14" name="Textplatzhalter 82">
            <a:extLst>
              <a:ext uri="{FF2B5EF4-FFF2-40B4-BE49-F238E27FC236}">
                <a16:creationId xmlns:a16="http://schemas.microsoft.com/office/drawing/2014/main" id="{6E29A329-596D-CFC1-6E9D-F4157DBD627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7812495" y="3526084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6</a:t>
            </a:r>
            <a:endParaRPr lang="en-CA"/>
          </a:p>
        </p:txBody>
      </p:sp>
      <p:sp>
        <p:nvSpPr>
          <p:cNvPr id="15" name="Textplatzhalter 82">
            <a:extLst>
              <a:ext uri="{FF2B5EF4-FFF2-40B4-BE49-F238E27FC236}">
                <a16:creationId xmlns:a16="http://schemas.microsoft.com/office/drawing/2014/main" id="{34D4295A-2E02-F26A-B8E5-F5C8A74A985D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7812495" y="4498813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7</a:t>
            </a:r>
            <a:endParaRPr lang="en-CA"/>
          </a:p>
        </p:txBody>
      </p:sp>
      <p:sp>
        <p:nvSpPr>
          <p:cNvPr id="16" name="Textplatzhalter 82">
            <a:extLst>
              <a:ext uri="{FF2B5EF4-FFF2-40B4-BE49-F238E27FC236}">
                <a16:creationId xmlns:a16="http://schemas.microsoft.com/office/drawing/2014/main" id="{38AC0C47-F256-BAA5-0CF3-CF7601F68F8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7812495" y="5471542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8</a:t>
            </a:r>
            <a:endParaRPr lang="en-CA"/>
          </a:p>
        </p:txBody>
      </p:sp>
      <p:sp>
        <p:nvSpPr>
          <p:cNvPr id="11" name="Rechteck 44">
            <a:extLst>
              <a:ext uri="{FF2B5EF4-FFF2-40B4-BE49-F238E27FC236}">
                <a16:creationId xmlns:a16="http://schemas.microsoft.com/office/drawing/2014/main" id="{9A7EFE94-85EF-FE45-60D1-C35B025AE2BA}"/>
              </a:ext>
            </a:extLst>
          </p:cNvPr>
          <p:cNvSpPr/>
          <p:nvPr userDrawn="1"/>
        </p:nvSpPr>
        <p:spPr>
          <a:xfrm>
            <a:off x="12341678" y="0"/>
            <a:ext cx="301275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57350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ntents + picture 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1801282-4288-50D1-9DCF-CA4612E52F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8460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1801282-4288-50D1-9DCF-CA4612E52F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F9CDA8A8-1015-9B7B-654A-5E6F1DD92C05}"/>
              </a:ext>
            </a:extLst>
          </p:cNvPr>
          <p:cNvSpPr/>
          <p:nvPr userDrawn="1"/>
        </p:nvSpPr>
        <p:spPr bwMode="white">
          <a:xfrm>
            <a:off x="0" y="3657600"/>
            <a:ext cx="12192000" cy="3200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0C577D-249B-E34D-F4DD-C4866A7E8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A89F6A-0E67-4481-8AD9-D887712E51A9}" type="datetime1">
              <a:rPr lang="de-DE" smtClean="0"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F4C4EE-018F-91D7-2A63-2D3B5AF22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t>‹Nr.›</a:t>
            </a:fld>
            <a:endParaRPr lang="en-CA"/>
          </a:p>
        </p:txBody>
      </p:sp>
      <p:sp>
        <p:nvSpPr>
          <p:cNvPr id="47" name="Titel 46">
            <a:extLst>
              <a:ext uri="{FF2B5EF4-FFF2-40B4-BE49-F238E27FC236}">
                <a16:creationId xmlns:a16="http://schemas.microsoft.com/office/drawing/2014/main" id="{84B33954-CB87-B6B4-DC18-69C037BC4B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50" name="Textplatzhalter 7">
            <a:extLst>
              <a:ext uri="{FF2B5EF4-FFF2-40B4-BE49-F238E27FC236}">
                <a16:creationId xmlns:a16="http://schemas.microsoft.com/office/drawing/2014/main" id="{F1FC4F1B-E9C6-966B-920C-3061CEEC48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>
                <a:solidFill>
                  <a:schemeClr val="accent3"/>
                </a:solidFill>
              </a:defRPr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53" name="Textplatzhalter 52">
            <a:extLst>
              <a:ext uri="{FF2B5EF4-FFF2-40B4-BE49-F238E27FC236}">
                <a16:creationId xmlns:a16="http://schemas.microsoft.com/office/drawing/2014/main" id="{753FD64C-7EAD-C2C7-3E96-AA2C42B2A2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988" y="3849561"/>
            <a:ext cx="360045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cap="none" baseline="0">
                <a:solidFill>
                  <a:schemeClr val="accent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Headline</a:t>
            </a:r>
            <a:endParaRPr lang="en-CA" dirty="0"/>
          </a:p>
        </p:txBody>
      </p:sp>
      <p:sp>
        <p:nvSpPr>
          <p:cNvPr id="54" name="Textplatzhalter 52">
            <a:extLst>
              <a:ext uri="{FF2B5EF4-FFF2-40B4-BE49-F238E27FC236}">
                <a16:creationId xmlns:a16="http://schemas.microsoft.com/office/drawing/2014/main" id="{9F54C9DF-FEFB-9882-DC94-F458A7BFE8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96175" y="3849561"/>
            <a:ext cx="3600043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cap="none" baseline="0">
                <a:solidFill>
                  <a:schemeClr val="accent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Headline</a:t>
            </a:r>
            <a:endParaRPr lang="en-CA" dirty="0"/>
          </a:p>
        </p:txBody>
      </p:sp>
      <p:sp>
        <p:nvSpPr>
          <p:cNvPr id="55" name="Textplatzhalter 52">
            <a:extLst>
              <a:ext uri="{FF2B5EF4-FFF2-40B4-BE49-F238E27FC236}">
                <a16:creationId xmlns:a16="http://schemas.microsoft.com/office/drawing/2014/main" id="{952FCD7C-7953-4A29-5C6B-C702161DCC7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84360" y="3849561"/>
            <a:ext cx="3600044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cap="none" baseline="0">
                <a:solidFill>
                  <a:schemeClr val="accent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Headline</a:t>
            </a:r>
            <a:endParaRPr lang="en-CA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B15783D-F67B-F14B-07FE-776E59095DBB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tx2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tx2"/>
              </a:solidFill>
            </a:endParaRPr>
          </a:p>
        </p:txBody>
      </p:sp>
      <p:sp>
        <p:nvSpPr>
          <p:cNvPr id="40" name="Inhaltsplatzhalter 39">
            <a:extLst>
              <a:ext uri="{FF2B5EF4-FFF2-40B4-BE49-F238E27FC236}">
                <a16:creationId xmlns:a16="http://schemas.microsoft.com/office/drawing/2014/main" id="{1138C8AE-BB46-7FCF-347A-02034611336F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07988" y="4298157"/>
            <a:ext cx="3600450" cy="2076450"/>
          </a:xfrm>
        </p:spPr>
        <p:txBody>
          <a:bodyPr/>
          <a:lstStyle/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  <a:endParaRPr lang="en-CA" dirty="0"/>
          </a:p>
        </p:txBody>
      </p:sp>
      <p:sp>
        <p:nvSpPr>
          <p:cNvPr id="42" name="Inhaltsplatzhalter 39">
            <a:extLst>
              <a:ext uri="{FF2B5EF4-FFF2-40B4-BE49-F238E27FC236}">
                <a16:creationId xmlns:a16="http://schemas.microsoft.com/office/drawing/2014/main" id="{EFA9BF1A-794A-38D8-7EA1-630D6673BF8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4296175" y="4298157"/>
            <a:ext cx="3600450" cy="2076450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43" name="Inhaltsplatzhalter 39">
            <a:extLst>
              <a:ext uri="{FF2B5EF4-FFF2-40B4-BE49-F238E27FC236}">
                <a16:creationId xmlns:a16="http://schemas.microsoft.com/office/drawing/2014/main" id="{63DC239F-DFEF-CF00-F79A-451EBEA6AC40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8184362" y="4298157"/>
            <a:ext cx="3600450" cy="2076450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grpSp>
        <p:nvGrpSpPr>
          <p:cNvPr id="2" name="Gruppieren 14">
            <a:extLst>
              <a:ext uri="{FF2B5EF4-FFF2-40B4-BE49-F238E27FC236}">
                <a16:creationId xmlns:a16="http://schemas.microsoft.com/office/drawing/2014/main" id="{3D26CF4C-72A5-6B6A-7624-A726780291EF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1CB27D3F-9606-580E-BDD9-CE8DDBBFD44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" name="Rectangle 8">
              <a:extLst>
                <a:ext uri="{FF2B5EF4-FFF2-40B4-BE49-F238E27FC236}">
                  <a16:creationId xmlns:a16="http://schemas.microsoft.com/office/drawing/2014/main" id="{E0D05D38-E398-D186-9CF4-AEDA80D01872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8" name="Rectangle 9">
              <a:extLst>
                <a:ext uri="{FF2B5EF4-FFF2-40B4-BE49-F238E27FC236}">
                  <a16:creationId xmlns:a16="http://schemas.microsoft.com/office/drawing/2014/main" id="{2B03C505-B8EA-1192-90BB-F87CF4D9EAC3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9844E6A7-CA98-60CE-F5DC-53F69A2E7D3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6" name="Freeform 11">
              <a:extLst>
                <a:ext uri="{FF2B5EF4-FFF2-40B4-BE49-F238E27FC236}">
                  <a16:creationId xmlns:a16="http://schemas.microsoft.com/office/drawing/2014/main" id="{37769AD5-06C3-5F20-18D8-9ECF139B505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Freeform 12">
              <a:extLst>
                <a:ext uri="{FF2B5EF4-FFF2-40B4-BE49-F238E27FC236}">
                  <a16:creationId xmlns:a16="http://schemas.microsoft.com/office/drawing/2014/main" id="{2E2D228B-4846-7FD9-144C-02B7A46BAD8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Freeform 13">
              <a:extLst>
                <a:ext uri="{FF2B5EF4-FFF2-40B4-BE49-F238E27FC236}">
                  <a16:creationId xmlns:a16="http://schemas.microsoft.com/office/drawing/2014/main" id="{E7551721-1895-4910-2A05-D51BEEEC817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9" name="Freeform 14">
              <a:extLst>
                <a:ext uri="{FF2B5EF4-FFF2-40B4-BE49-F238E27FC236}">
                  <a16:creationId xmlns:a16="http://schemas.microsoft.com/office/drawing/2014/main" id="{BF20BFC6-4805-2805-1668-A611B87385A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64320ADC-F744-CD2A-528C-3C32E020722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6">
              <a:extLst>
                <a:ext uri="{FF2B5EF4-FFF2-40B4-BE49-F238E27FC236}">
                  <a16:creationId xmlns:a16="http://schemas.microsoft.com/office/drawing/2014/main" id="{455F9A16-03F8-EB23-6EFE-27B08043D60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80E74BE3-1E02-91EC-B8D9-2ADA9B3E078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18">
              <a:extLst>
                <a:ext uri="{FF2B5EF4-FFF2-40B4-BE49-F238E27FC236}">
                  <a16:creationId xmlns:a16="http://schemas.microsoft.com/office/drawing/2014/main" id="{50F1895C-B064-DFA4-013E-0A2F1AFA149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19">
              <a:extLst>
                <a:ext uri="{FF2B5EF4-FFF2-40B4-BE49-F238E27FC236}">
                  <a16:creationId xmlns:a16="http://schemas.microsoft.com/office/drawing/2014/main" id="{2AF079E8-FE7B-E61A-119F-1E87C3C064F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20">
              <a:extLst>
                <a:ext uri="{FF2B5EF4-FFF2-40B4-BE49-F238E27FC236}">
                  <a16:creationId xmlns:a16="http://schemas.microsoft.com/office/drawing/2014/main" id="{B2D9D03B-1C09-2224-7701-7C1CBDA3399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1">
              <a:extLst>
                <a:ext uri="{FF2B5EF4-FFF2-40B4-BE49-F238E27FC236}">
                  <a16:creationId xmlns:a16="http://schemas.microsoft.com/office/drawing/2014/main" id="{B7145DBC-D5B0-D346-10DA-C118C6EB808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2">
              <a:extLst>
                <a:ext uri="{FF2B5EF4-FFF2-40B4-BE49-F238E27FC236}">
                  <a16:creationId xmlns:a16="http://schemas.microsoft.com/office/drawing/2014/main" id="{3C057F22-601B-EEA3-B9BD-850CF99777A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23">
              <a:extLst>
                <a:ext uri="{FF2B5EF4-FFF2-40B4-BE49-F238E27FC236}">
                  <a16:creationId xmlns:a16="http://schemas.microsoft.com/office/drawing/2014/main" id="{7A008F0D-7217-1530-0C3B-45B80FD48E3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8" name="Freeform 24">
              <a:extLst>
                <a:ext uri="{FF2B5EF4-FFF2-40B4-BE49-F238E27FC236}">
                  <a16:creationId xmlns:a16="http://schemas.microsoft.com/office/drawing/2014/main" id="{719FF7D7-E573-E43F-A005-5D7593129F3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9" name="Freeform 25">
              <a:extLst>
                <a:ext uri="{FF2B5EF4-FFF2-40B4-BE49-F238E27FC236}">
                  <a16:creationId xmlns:a16="http://schemas.microsoft.com/office/drawing/2014/main" id="{A805197E-2FA4-60CF-6A00-0AA591E5E94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0" name="Freeform 26">
              <a:extLst>
                <a:ext uri="{FF2B5EF4-FFF2-40B4-BE49-F238E27FC236}">
                  <a16:creationId xmlns:a16="http://schemas.microsoft.com/office/drawing/2014/main" id="{2BE3BA4C-89F0-65B3-C53A-039886E98D9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1" name="Freeform 27">
              <a:extLst>
                <a:ext uri="{FF2B5EF4-FFF2-40B4-BE49-F238E27FC236}">
                  <a16:creationId xmlns:a16="http://schemas.microsoft.com/office/drawing/2014/main" id="{9F6A5AE4-1760-4408-0CEF-39D9449B6C8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2" name="Freeform 28">
              <a:extLst>
                <a:ext uri="{FF2B5EF4-FFF2-40B4-BE49-F238E27FC236}">
                  <a16:creationId xmlns:a16="http://schemas.microsoft.com/office/drawing/2014/main" id="{72A5ECCB-9C5C-E375-12F4-3CF7BB6C89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6E5363BB-5242-147C-676A-2230CAA5415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17" name="Rechteck 44">
            <a:extLst>
              <a:ext uri="{FF2B5EF4-FFF2-40B4-BE49-F238E27FC236}">
                <a16:creationId xmlns:a16="http://schemas.microsoft.com/office/drawing/2014/main" id="{F2D055D2-4517-56AD-93F2-EE578439604A}"/>
              </a:ext>
            </a:extLst>
          </p:cNvPr>
          <p:cNvSpPr/>
          <p:nvPr userDrawn="1"/>
        </p:nvSpPr>
        <p:spPr>
          <a:xfrm>
            <a:off x="12341678" y="-1"/>
            <a:ext cx="3012754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1400" dirty="0">
                <a:solidFill>
                  <a:schemeClr val="tx2"/>
                </a:solidFill>
              </a:rPr>
              <a:t>To add a background image, right click on slide – “Format Background” – “Picture or texture fill”</a:t>
            </a:r>
          </a:p>
          <a:p>
            <a:pPr algn="l"/>
            <a:endParaRPr lang="en-US" sz="1400" b="1" dirty="0">
              <a:solidFill>
                <a:schemeClr val="accent6"/>
              </a:solidFill>
            </a:endParaRPr>
          </a:p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accent6"/>
                </a:solidFill>
              </a:rPr>
              <a:t>Headline: try to keep it short, within ONE line. Do not extend the placeholder!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8686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ntents_partially blu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1801282-4288-50D1-9DCF-CA4612E52F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8460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1801282-4288-50D1-9DCF-CA4612E52F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F9CDA8A8-1015-9B7B-654A-5E6F1DD92C05}"/>
              </a:ext>
            </a:extLst>
          </p:cNvPr>
          <p:cNvSpPr/>
          <p:nvPr userDrawn="1"/>
        </p:nvSpPr>
        <p:spPr bwMode="white">
          <a:xfrm>
            <a:off x="0" y="2705100"/>
            <a:ext cx="12192000" cy="415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0C577D-249B-E34D-F4DD-C4866A7E8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A89F6A-0E67-4481-8AD9-D887712E51A9}" type="datetime1">
              <a:rPr lang="de-DE" smtClean="0"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F4C4EE-018F-91D7-2A63-2D3B5AF22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t>‹Nr.›</a:t>
            </a:fld>
            <a:endParaRPr lang="en-CA"/>
          </a:p>
        </p:txBody>
      </p:sp>
      <p:sp>
        <p:nvSpPr>
          <p:cNvPr id="47" name="Titel 46">
            <a:extLst>
              <a:ext uri="{FF2B5EF4-FFF2-40B4-BE49-F238E27FC236}">
                <a16:creationId xmlns:a16="http://schemas.microsoft.com/office/drawing/2014/main" id="{84B33954-CB87-B6B4-DC18-69C037BC4B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50" name="Textplatzhalter 7">
            <a:extLst>
              <a:ext uri="{FF2B5EF4-FFF2-40B4-BE49-F238E27FC236}">
                <a16:creationId xmlns:a16="http://schemas.microsoft.com/office/drawing/2014/main" id="{F1FC4F1B-E9C6-966B-920C-3061CEEC48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>
                <a:solidFill>
                  <a:schemeClr val="accent3"/>
                </a:solidFill>
              </a:defRPr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53" name="Textplatzhalter 52">
            <a:extLst>
              <a:ext uri="{FF2B5EF4-FFF2-40B4-BE49-F238E27FC236}">
                <a16:creationId xmlns:a16="http://schemas.microsoft.com/office/drawing/2014/main" id="{753FD64C-7EAD-C2C7-3E96-AA2C42B2A2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988" y="2074373"/>
            <a:ext cx="3600042" cy="432000"/>
          </a:xfrm>
          <a:prstGeom prst="roundRect">
            <a:avLst>
              <a:gd name="adj" fmla="val 50000"/>
            </a:avLst>
          </a:prstGeom>
          <a:ln>
            <a:solidFill>
              <a:schemeClr val="bg1"/>
            </a:solidFill>
          </a:ln>
        </p:spPr>
        <p:txBody>
          <a:bodyPr wrap="none" anchor="ctr">
            <a:normAutofit/>
          </a:bodyPr>
          <a:lstStyle>
            <a:lvl1pPr marL="0" indent="0" algn="ctr">
              <a:buNone/>
              <a:defRPr sz="1600" cap="none" baseline="0">
                <a:solidFill>
                  <a:schemeClr val="bg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eadline</a:t>
            </a:r>
            <a:endParaRPr lang="en-CA"/>
          </a:p>
        </p:txBody>
      </p:sp>
      <p:sp>
        <p:nvSpPr>
          <p:cNvPr id="54" name="Textplatzhalter 52">
            <a:extLst>
              <a:ext uri="{FF2B5EF4-FFF2-40B4-BE49-F238E27FC236}">
                <a16:creationId xmlns:a16="http://schemas.microsoft.com/office/drawing/2014/main" id="{9F54C9DF-FEFB-9882-DC94-F458A7BFE8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96175" y="2074373"/>
            <a:ext cx="3600043" cy="432000"/>
          </a:xfrm>
          <a:prstGeom prst="roundRect">
            <a:avLst>
              <a:gd name="adj" fmla="val 50000"/>
            </a:avLst>
          </a:prstGeom>
          <a:ln>
            <a:solidFill>
              <a:schemeClr val="bg1"/>
            </a:solidFill>
          </a:ln>
        </p:spPr>
        <p:txBody>
          <a:bodyPr wrap="square" anchor="ctr">
            <a:normAutofit/>
          </a:bodyPr>
          <a:lstStyle>
            <a:lvl1pPr marL="0" indent="0" algn="ctr">
              <a:buNone/>
              <a:defRPr sz="1600" cap="none" baseline="0">
                <a:solidFill>
                  <a:schemeClr val="bg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eadline</a:t>
            </a:r>
            <a:endParaRPr lang="en-CA"/>
          </a:p>
        </p:txBody>
      </p:sp>
      <p:sp>
        <p:nvSpPr>
          <p:cNvPr id="55" name="Textplatzhalter 52">
            <a:extLst>
              <a:ext uri="{FF2B5EF4-FFF2-40B4-BE49-F238E27FC236}">
                <a16:creationId xmlns:a16="http://schemas.microsoft.com/office/drawing/2014/main" id="{952FCD7C-7953-4A29-5C6B-C702161DCC7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84360" y="2074373"/>
            <a:ext cx="3600044" cy="432000"/>
          </a:xfrm>
          <a:prstGeom prst="roundRect">
            <a:avLst>
              <a:gd name="adj" fmla="val 50000"/>
            </a:avLst>
          </a:prstGeom>
          <a:ln>
            <a:solidFill>
              <a:schemeClr val="bg1"/>
            </a:solidFill>
          </a:ln>
        </p:spPr>
        <p:txBody>
          <a:bodyPr wrap="square" anchor="ctr">
            <a:normAutofit/>
          </a:bodyPr>
          <a:lstStyle>
            <a:lvl1pPr marL="0" indent="0" algn="ctr">
              <a:buNone/>
              <a:defRPr sz="1600" cap="none" baseline="0">
                <a:solidFill>
                  <a:schemeClr val="bg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eadline</a:t>
            </a:r>
            <a:endParaRPr lang="en-CA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B15783D-F67B-F14B-07FE-776E59095DBB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tx2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tx2"/>
              </a:solidFill>
            </a:endParaRPr>
          </a:p>
        </p:txBody>
      </p:sp>
      <p:sp>
        <p:nvSpPr>
          <p:cNvPr id="40" name="Inhaltsplatzhalter 39">
            <a:extLst>
              <a:ext uri="{FF2B5EF4-FFF2-40B4-BE49-F238E27FC236}">
                <a16:creationId xmlns:a16="http://schemas.microsoft.com/office/drawing/2014/main" id="{1138C8AE-BB46-7FCF-347A-02034611336F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07988" y="2900105"/>
            <a:ext cx="3600450" cy="3470507"/>
          </a:xfrm>
        </p:spPr>
        <p:txBody>
          <a:bodyPr/>
          <a:lstStyle/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  <a:endParaRPr lang="en-CA" dirty="0"/>
          </a:p>
        </p:txBody>
      </p:sp>
      <p:sp>
        <p:nvSpPr>
          <p:cNvPr id="42" name="Inhaltsplatzhalter 39">
            <a:extLst>
              <a:ext uri="{FF2B5EF4-FFF2-40B4-BE49-F238E27FC236}">
                <a16:creationId xmlns:a16="http://schemas.microsoft.com/office/drawing/2014/main" id="{EFA9BF1A-794A-38D8-7EA1-630D6673BF8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4296175" y="2900105"/>
            <a:ext cx="3600450" cy="3470507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43" name="Inhaltsplatzhalter 39">
            <a:extLst>
              <a:ext uri="{FF2B5EF4-FFF2-40B4-BE49-F238E27FC236}">
                <a16:creationId xmlns:a16="http://schemas.microsoft.com/office/drawing/2014/main" id="{63DC239F-DFEF-CF00-F79A-451EBEA6AC40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8184362" y="2900105"/>
            <a:ext cx="3600450" cy="3470507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grpSp>
        <p:nvGrpSpPr>
          <p:cNvPr id="2" name="Gruppieren 14">
            <a:extLst>
              <a:ext uri="{FF2B5EF4-FFF2-40B4-BE49-F238E27FC236}">
                <a16:creationId xmlns:a16="http://schemas.microsoft.com/office/drawing/2014/main" id="{3D26CF4C-72A5-6B6A-7624-A726780291EF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1CB27D3F-9606-580E-BDD9-CE8DDBBFD44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" name="Rectangle 8">
              <a:extLst>
                <a:ext uri="{FF2B5EF4-FFF2-40B4-BE49-F238E27FC236}">
                  <a16:creationId xmlns:a16="http://schemas.microsoft.com/office/drawing/2014/main" id="{E0D05D38-E398-D186-9CF4-AEDA80D01872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8" name="Rectangle 9">
              <a:extLst>
                <a:ext uri="{FF2B5EF4-FFF2-40B4-BE49-F238E27FC236}">
                  <a16:creationId xmlns:a16="http://schemas.microsoft.com/office/drawing/2014/main" id="{2B03C505-B8EA-1192-90BB-F87CF4D9EAC3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9844E6A7-CA98-60CE-F5DC-53F69A2E7D3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6" name="Freeform 11">
              <a:extLst>
                <a:ext uri="{FF2B5EF4-FFF2-40B4-BE49-F238E27FC236}">
                  <a16:creationId xmlns:a16="http://schemas.microsoft.com/office/drawing/2014/main" id="{37769AD5-06C3-5F20-18D8-9ECF139B505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Freeform 12">
              <a:extLst>
                <a:ext uri="{FF2B5EF4-FFF2-40B4-BE49-F238E27FC236}">
                  <a16:creationId xmlns:a16="http://schemas.microsoft.com/office/drawing/2014/main" id="{2E2D228B-4846-7FD9-144C-02B7A46BAD8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Freeform 13">
              <a:extLst>
                <a:ext uri="{FF2B5EF4-FFF2-40B4-BE49-F238E27FC236}">
                  <a16:creationId xmlns:a16="http://schemas.microsoft.com/office/drawing/2014/main" id="{E7551721-1895-4910-2A05-D51BEEEC817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9" name="Freeform 14">
              <a:extLst>
                <a:ext uri="{FF2B5EF4-FFF2-40B4-BE49-F238E27FC236}">
                  <a16:creationId xmlns:a16="http://schemas.microsoft.com/office/drawing/2014/main" id="{BF20BFC6-4805-2805-1668-A611B87385A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64320ADC-F744-CD2A-528C-3C32E020722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6">
              <a:extLst>
                <a:ext uri="{FF2B5EF4-FFF2-40B4-BE49-F238E27FC236}">
                  <a16:creationId xmlns:a16="http://schemas.microsoft.com/office/drawing/2014/main" id="{455F9A16-03F8-EB23-6EFE-27B08043D60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80E74BE3-1E02-91EC-B8D9-2ADA9B3E078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18">
              <a:extLst>
                <a:ext uri="{FF2B5EF4-FFF2-40B4-BE49-F238E27FC236}">
                  <a16:creationId xmlns:a16="http://schemas.microsoft.com/office/drawing/2014/main" id="{50F1895C-B064-DFA4-013E-0A2F1AFA149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19">
              <a:extLst>
                <a:ext uri="{FF2B5EF4-FFF2-40B4-BE49-F238E27FC236}">
                  <a16:creationId xmlns:a16="http://schemas.microsoft.com/office/drawing/2014/main" id="{2AF079E8-FE7B-E61A-119F-1E87C3C064F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20">
              <a:extLst>
                <a:ext uri="{FF2B5EF4-FFF2-40B4-BE49-F238E27FC236}">
                  <a16:creationId xmlns:a16="http://schemas.microsoft.com/office/drawing/2014/main" id="{B2D9D03B-1C09-2224-7701-7C1CBDA3399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1">
              <a:extLst>
                <a:ext uri="{FF2B5EF4-FFF2-40B4-BE49-F238E27FC236}">
                  <a16:creationId xmlns:a16="http://schemas.microsoft.com/office/drawing/2014/main" id="{B7145DBC-D5B0-D346-10DA-C118C6EB808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2">
              <a:extLst>
                <a:ext uri="{FF2B5EF4-FFF2-40B4-BE49-F238E27FC236}">
                  <a16:creationId xmlns:a16="http://schemas.microsoft.com/office/drawing/2014/main" id="{3C057F22-601B-EEA3-B9BD-850CF99777A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23">
              <a:extLst>
                <a:ext uri="{FF2B5EF4-FFF2-40B4-BE49-F238E27FC236}">
                  <a16:creationId xmlns:a16="http://schemas.microsoft.com/office/drawing/2014/main" id="{7A008F0D-7217-1530-0C3B-45B80FD48E3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8" name="Freeform 24">
              <a:extLst>
                <a:ext uri="{FF2B5EF4-FFF2-40B4-BE49-F238E27FC236}">
                  <a16:creationId xmlns:a16="http://schemas.microsoft.com/office/drawing/2014/main" id="{719FF7D7-E573-E43F-A005-5D7593129F3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9" name="Freeform 25">
              <a:extLst>
                <a:ext uri="{FF2B5EF4-FFF2-40B4-BE49-F238E27FC236}">
                  <a16:creationId xmlns:a16="http://schemas.microsoft.com/office/drawing/2014/main" id="{A805197E-2FA4-60CF-6A00-0AA591E5E94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0" name="Freeform 26">
              <a:extLst>
                <a:ext uri="{FF2B5EF4-FFF2-40B4-BE49-F238E27FC236}">
                  <a16:creationId xmlns:a16="http://schemas.microsoft.com/office/drawing/2014/main" id="{2BE3BA4C-89F0-65B3-C53A-039886E98D9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1" name="Freeform 27">
              <a:extLst>
                <a:ext uri="{FF2B5EF4-FFF2-40B4-BE49-F238E27FC236}">
                  <a16:creationId xmlns:a16="http://schemas.microsoft.com/office/drawing/2014/main" id="{9F6A5AE4-1760-4408-0CEF-39D9449B6C8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2" name="Freeform 28">
              <a:extLst>
                <a:ext uri="{FF2B5EF4-FFF2-40B4-BE49-F238E27FC236}">
                  <a16:creationId xmlns:a16="http://schemas.microsoft.com/office/drawing/2014/main" id="{72A5ECCB-9C5C-E375-12F4-3CF7BB6C89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6E5363BB-5242-147C-676A-2230CAA5415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20" name="Rechteck 44">
            <a:extLst>
              <a:ext uri="{FF2B5EF4-FFF2-40B4-BE49-F238E27FC236}">
                <a16:creationId xmlns:a16="http://schemas.microsoft.com/office/drawing/2014/main" id="{00E31E01-75F1-2D16-09D2-2ED2F8131760}"/>
              </a:ext>
            </a:extLst>
          </p:cNvPr>
          <p:cNvSpPr/>
          <p:nvPr userDrawn="1"/>
        </p:nvSpPr>
        <p:spPr>
          <a:xfrm>
            <a:off x="12341678" y="-1"/>
            <a:ext cx="3012754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accent6"/>
                </a:solidFill>
              </a:rPr>
              <a:t>Headline: try to keep it short, within ONE line. Do not extend the placeholder!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38401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3 contents_partially blue_icons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1801282-4288-50D1-9DCF-CA4612E52F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8460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1801282-4288-50D1-9DCF-CA4612E52F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F9CDA8A8-1015-9B7B-654A-5E6F1DD92C05}"/>
              </a:ext>
            </a:extLst>
          </p:cNvPr>
          <p:cNvSpPr/>
          <p:nvPr userDrawn="1"/>
        </p:nvSpPr>
        <p:spPr bwMode="white">
          <a:xfrm>
            <a:off x="0" y="2705100"/>
            <a:ext cx="12192000" cy="415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0C577D-249B-E34D-F4DD-C4866A7E8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A89F6A-0E67-4481-8AD9-D887712E51A9}" type="datetime1">
              <a:rPr lang="de-DE" smtClean="0"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F4C4EE-018F-91D7-2A63-2D3B5AF22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t>‹Nr.›</a:t>
            </a:fld>
            <a:endParaRPr lang="en-CA"/>
          </a:p>
        </p:txBody>
      </p:sp>
      <p:sp>
        <p:nvSpPr>
          <p:cNvPr id="47" name="Titel 46">
            <a:extLst>
              <a:ext uri="{FF2B5EF4-FFF2-40B4-BE49-F238E27FC236}">
                <a16:creationId xmlns:a16="http://schemas.microsoft.com/office/drawing/2014/main" id="{84B33954-CB87-B6B4-DC18-69C037BC4B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50" name="Textplatzhalter 7">
            <a:extLst>
              <a:ext uri="{FF2B5EF4-FFF2-40B4-BE49-F238E27FC236}">
                <a16:creationId xmlns:a16="http://schemas.microsoft.com/office/drawing/2014/main" id="{F1FC4F1B-E9C6-966B-920C-3061CEEC48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>
                <a:solidFill>
                  <a:schemeClr val="accent3"/>
                </a:solidFill>
              </a:defRPr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B15783D-F67B-F14B-07FE-776E59095DBB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tx2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tx2"/>
              </a:solidFill>
            </a:endParaRPr>
          </a:p>
        </p:txBody>
      </p:sp>
      <p:grpSp>
        <p:nvGrpSpPr>
          <p:cNvPr id="2" name="Gruppieren 14">
            <a:extLst>
              <a:ext uri="{FF2B5EF4-FFF2-40B4-BE49-F238E27FC236}">
                <a16:creationId xmlns:a16="http://schemas.microsoft.com/office/drawing/2014/main" id="{3D26CF4C-72A5-6B6A-7624-A726780291EF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1CB27D3F-9606-580E-BDD9-CE8DDBBFD44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" name="Rectangle 8">
              <a:extLst>
                <a:ext uri="{FF2B5EF4-FFF2-40B4-BE49-F238E27FC236}">
                  <a16:creationId xmlns:a16="http://schemas.microsoft.com/office/drawing/2014/main" id="{E0D05D38-E398-D186-9CF4-AEDA80D01872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8" name="Rectangle 9">
              <a:extLst>
                <a:ext uri="{FF2B5EF4-FFF2-40B4-BE49-F238E27FC236}">
                  <a16:creationId xmlns:a16="http://schemas.microsoft.com/office/drawing/2014/main" id="{2B03C505-B8EA-1192-90BB-F87CF4D9EAC3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9844E6A7-CA98-60CE-F5DC-53F69A2E7D3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6" name="Freeform 11">
              <a:extLst>
                <a:ext uri="{FF2B5EF4-FFF2-40B4-BE49-F238E27FC236}">
                  <a16:creationId xmlns:a16="http://schemas.microsoft.com/office/drawing/2014/main" id="{37769AD5-06C3-5F20-18D8-9ECF139B505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Freeform 12">
              <a:extLst>
                <a:ext uri="{FF2B5EF4-FFF2-40B4-BE49-F238E27FC236}">
                  <a16:creationId xmlns:a16="http://schemas.microsoft.com/office/drawing/2014/main" id="{2E2D228B-4846-7FD9-144C-02B7A46BAD8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Freeform 13">
              <a:extLst>
                <a:ext uri="{FF2B5EF4-FFF2-40B4-BE49-F238E27FC236}">
                  <a16:creationId xmlns:a16="http://schemas.microsoft.com/office/drawing/2014/main" id="{E7551721-1895-4910-2A05-D51BEEEC817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9" name="Freeform 14">
              <a:extLst>
                <a:ext uri="{FF2B5EF4-FFF2-40B4-BE49-F238E27FC236}">
                  <a16:creationId xmlns:a16="http://schemas.microsoft.com/office/drawing/2014/main" id="{BF20BFC6-4805-2805-1668-A611B87385A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64320ADC-F744-CD2A-528C-3C32E020722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6">
              <a:extLst>
                <a:ext uri="{FF2B5EF4-FFF2-40B4-BE49-F238E27FC236}">
                  <a16:creationId xmlns:a16="http://schemas.microsoft.com/office/drawing/2014/main" id="{455F9A16-03F8-EB23-6EFE-27B08043D60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80E74BE3-1E02-91EC-B8D9-2ADA9B3E078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18">
              <a:extLst>
                <a:ext uri="{FF2B5EF4-FFF2-40B4-BE49-F238E27FC236}">
                  <a16:creationId xmlns:a16="http://schemas.microsoft.com/office/drawing/2014/main" id="{50F1895C-B064-DFA4-013E-0A2F1AFA149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19">
              <a:extLst>
                <a:ext uri="{FF2B5EF4-FFF2-40B4-BE49-F238E27FC236}">
                  <a16:creationId xmlns:a16="http://schemas.microsoft.com/office/drawing/2014/main" id="{2AF079E8-FE7B-E61A-119F-1E87C3C064F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20">
              <a:extLst>
                <a:ext uri="{FF2B5EF4-FFF2-40B4-BE49-F238E27FC236}">
                  <a16:creationId xmlns:a16="http://schemas.microsoft.com/office/drawing/2014/main" id="{B2D9D03B-1C09-2224-7701-7C1CBDA3399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1">
              <a:extLst>
                <a:ext uri="{FF2B5EF4-FFF2-40B4-BE49-F238E27FC236}">
                  <a16:creationId xmlns:a16="http://schemas.microsoft.com/office/drawing/2014/main" id="{B7145DBC-D5B0-D346-10DA-C118C6EB808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2">
              <a:extLst>
                <a:ext uri="{FF2B5EF4-FFF2-40B4-BE49-F238E27FC236}">
                  <a16:creationId xmlns:a16="http://schemas.microsoft.com/office/drawing/2014/main" id="{3C057F22-601B-EEA3-B9BD-850CF99777A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23">
              <a:extLst>
                <a:ext uri="{FF2B5EF4-FFF2-40B4-BE49-F238E27FC236}">
                  <a16:creationId xmlns:a16="http://schemas.microsoft.com/office/drawing/2014/main" id="{7A008F0D-7217-1530-0C3B-45B80FD48E3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8" name="Freeform 24">
              <a:extLst>
                <a:ext uri="{FF2B5EF4-FFF2-40B4-BE49-F238E27FC236}">
                  <a16:creationId xmlns:a16="http://schemas.microsoft.com/office/drawing/2014/main" id="{719FF7D7-E573-E43F-A005-5D7593129F3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9" name="Freeform 25">
              <a:extLst>
                <a:ext uri="{FF2B5EF4-FFF2-40B4-BE49-F238E27FC236}">
                  <a16:creationId xmlns:a16="http://schemas.microsoft.com/office/drawing/2014/main" id="{A805197E-2FA4-60CF-6A00-0AA591E5E94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0" name="Freeform 26">
              <a:extLst>
                <a:ext uri="{FF2B5EF4-FFF2-40B4-BE49-F238E27FC236}">
                  <a16:creationId xmlns:a16="http://schemas.microsoft.com/office/drawing/2014/main" id="{2BE3BA4C-89F0-65B3-C53A-039886E98D9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1" name="Freeform 27">
              <a:extLst>
                <a:ext uri="{FF2B5EF4-FFF2-40B4-BE49-F238E27FC236}">
                  <a16:creationId xmlns:a16="http://schemas.microsoft.com/office/drawing/2014/main" id="{9F6A5AE4-1760-4408-0CEF-39D9449B6C8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2" name="Freeform 28">
              <a:extLst>
                <a:ext uri="{FF2B5EF4-FFF2-40B4-BE49-F238E27FC236}">
                  <a16:creationId xmlns:a16="http://schemas.microsoft.com/office/drawing/2014/main" id="{72A5ECCB-9C5C-E375-12F4-3CF7BB6C89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6E5363BB-5242-147C-676A-2230CAA5415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81B0F78-288A-1D3F-EB23-2284535B406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7987" y="3337060"/>
            <a:ext cx="3600451" cy="3044689"/>
          </a:xfrm>
        </p:spPr>
        <p:txBody>
          <a:bodyPr/>
          <a:lstStyle/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  <a:endParaRPr lang="en-CA" dirty="0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F28BA33-3194-E68F-6877-7BA7B190E92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295776" y="3355177"/>
            <a:ext cx="3600451" cy="3026573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FC1F66D6-EE5F-AFA8-FB77-459578498BA8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8185855" y="3355177"/>
            <a:ext cx="3600451" cy="3026572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16" name="Textplatzhalter 52">
            <a:extLst>
              <a:ext uri="{FF2B5EF4-FFF2-40B4-BE49-F238E27FC236}">
                <a16:creationId xmlns:a16="http://schemas.microsoft.com/office/drawing/2014/main" id="{1F73B022-5CA7-2F60-B118-DD9DDDE9D1A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987" y="2894921"/>
            <a:ext cx="3600451" cy="246221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cap="none" baseline="0">
                <a:solidFill>
                  <a:schemeClr val="accent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Headline</a:t>
            </a:r>
            <a:endParaRPr lang="en-CA" dirty="0"/>
          </a:p>
        </p:txBody>
      </p:sp>
      <p:sp>
        <p:nvSpPr>
          <p:cNvPr id="17" name="Textplatzhalter 52">
            <a:extLst>
              <a:ext uri="{FF2B5EF4-FFF2-40B4-BE49-F238E27FC236}">
                <a16:creationId xmlns:a16="http://schemas.microsoft.com/office/drawing/2014/main" id="{87EFD4B6-004A-D04B-5D26-2E20B513444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95776" y="2894921"/>
            <a:ext cx="3600451" cy="246221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cap="none" baseline="0">
                <a:solidFill>
                  <a:schemeClr val="accent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Headline</a:t>
            </a:r>
            <a:endParaRPr lang="en-CA" dirty="0"/>
          </a:p>
        </p:txBody>
      </p:sp>
      <p:sp>
        <p:nvSpPr>
          <p:cNvPr id="18" name="Textplatzhalter 52">
            <a:extLst>
              <a:ext uri="{FF2B5EF4-FFF2-40B4-BE49-F238E27FC236}">
                <a16:creationId xmlns:a16="http://schemas.microsoft.com/office/drawing/2014/main" id="{66F59C08-1EC8-173B-ABAB-6F9A850C54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85855" y="2894921"/>
            <a:ext cx="3600451" cy="246221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cap="none" baseline="0">
                <a:solidFill>
                  <a:schemeClr val="accent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Headline</a:t>
            </a:r>
            <a:endParaRPr lang="en-CA" dirty="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7C3858E-79E9-BC76-2ADC-439FDC02AA7A}"/>
              </a:ext>
            </a:extLst>
          </p:cNvPr>
          <p:cNvSpPr/>
          <p:nvPr userDrawn="1"/>
        </p:nvSpPr>
        <p:spPr>
          <a:xfrm>
            <a:off x="1742012" y="1325602"/>
            <a:ext cx="932400" cy="932400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252000" indent="-252000" algn="l"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GB" sz="1400">
              <a:solidFill>
                <a:schemeClr val="bg1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E22297CB-0F10-F289-CFB9-75B631EA7B86}"/>
              </a:ext>
            </a:extLst>
          </p:cNvPr>
          <p:cNvSpPr/>
          <p:nvPr userDrawn="1"/>
        </p:nvSpPr>
        <p:spPr>
          <a:xfrm>
            <a:off x="5629800" y="1325602"/>
            <a:ext cx="932400" cy="932400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252000" indent="-252000" algn="l"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GB" sz="1400">
              <a:solidFill>
                <a:schemeClr val="bg1"/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5D9ABE77-A864-5333-5FAB-2DB96F059B70}"/>
              </a:ext>
            </a:extLst>
          </p:cNvPr>
          <p:cNvSpPr/>
          <p:nvPr userDrawn="1"/>
        </p:nvSpPr>
        <p:spPr>
          <a:xfrm>
            <a:off x="9517588" y="1325602"/>
            <a:ext cx="932400" cy="932400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252000" indent="-252000" algn="l"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GB" sz="1400">
              <a:solidFill>
                <a:schemeClr val="bg1"/>
              </a:solidFill>
            </a:endParaRPr>
          </a:p>
        </p:txBody>
      </p:sp>
      <p:sp>
        <p:nvSpPr>
          <p:cNvPr id="25" name="Rechteck 44">
            <a:extLst>
              <a:ext uri="{FF2B5EF4-FFF2-40B4-BE49-F238E27FC236}">
                <a16:creationId xmlns:a16="http://schemas.microsoft.com/office/drawing/2014/main" id="{23BF7F93-9C05-7AC3-AF39-0915E45CF8D0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chemeClr val="accent6"/>
                </a:solidFill>
              </a:rPr>
              <a:t>Insert white icons in the circles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accent6"/>
                </a:solidFill>
              </a:rPr>
              <a:t>Headline: try to keep it short, within ONE line. Do not extend the placeholder!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64818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47DFBB81-771E-6CD4-1CB8-5F863F1B2E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1586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DFBB81-771E-6CD4-1CB8-5F863F1B2E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00242F6-C996-49D1-F08C-FC8DF54043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C3DF3E4-E5A5-6024-A182-C6BB16AEB24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7987" y="1484312"/>
            <a:ext cx="5543551" cy="4897437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F95798D-D3AF-7F77-EA72-568373D7225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40464" y="1484312"/>
            <a:ext cx="5543550" cy="4897437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93F9D29-F169-6744-8378-BC67C99130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196C7-E992-43AB-8F76-578993D9CEAE}" type="datetime1">
              <a:rPr lang="de-DE" smtClean="0"/>
              <a:t>27.01.25</a:t>
            </a:fld>
            <a:endParaRPr lang="en-CA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EAAC672-B9EF-8B5B-1D3F-963E1075C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F94F17A-32D5-C51C-5C2B-3503D5CE4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/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18" name="Rechteck 44">
            <a:extLst>
              <a:ext uri="{FF2B5EF4-FFF2-40B4-BE49-F238E27FC236}">
                <a16:creationId xmlns:a16="http://schemas.microsoft.com/office/drawing/2014/main" id="{D5502D0B-2F1A-32FE-4FB5-26B1AE8F0CA2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A0C7D3F-A180-B8D8-0B3A-98F94986932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2326356"/>
            <a:ext cx="4286250" cy="8763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0FAD9B0-0253-ED56-68F8-4904DFE3010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330861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66224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s blu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A39D31F-72A1-9494-80EA-D2C514D6A5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1667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39D31F-72A1-9494-80EA-D2C514D6A5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7C8D850-AF7E-8F4D-CEF3-B47C121EC3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558CD2-52FA-4D7C-A86C-723F48EB75AD}" type="datetime1">
              <a:rPr lang="de-DE" smtClean="0"/>
              <a:t>27.01.25</a:t>
            </a:fld>
            <a:endParaRPr lang="en-CA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89C0FBA-71BD-3026-F678-D62D69D42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CBC7D96-82C2-1A0A-F46E-E381D1FE70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F4836234-3D1D-3182-9BB0-5BBD9B6A42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>
                <a:solidFill>
                  <a:schemeClr val="accent3"/>
                </a:solidFill>
              </a:defRPr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C28FCC8D-7929-4B59-8390-04C6C197848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7987" y="1484312"/>
            <a:ext cx="5543551" cy="48974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9FFBA01F-4E9D-52E6-DAED-6F52770EA47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240464" y="1484312"/>
            <a:ext cx="5543552" cy="48974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593F718-02FC-50D6-2400-9821D489B874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grpSp>
        <p:nvGrpSpPr>
          <p:cNvPr id="4" name="Gruppieren 14">
            <a:extLst>
              <a:ext uri="{FF2B5EF4-FFF2-40B4-BE49-F238E27FC236}">
                <a16:creationId xmlns:a16="http://schemas.microsoft.com/office/drawing/2014/main" id="{F0187871-FC33-2F6E-B121-23C0364500A8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7524C6AA-7F91-22E2-AD88-83204D97D80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094B59A-FCB5-FA4C-8869-9497ECC03D49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EC3A73C-E553-D421-F245-087E0ED8A861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C5591742-09C3-1D5A-E5BD-F2F68024967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B11E7538-36F3-3999-A5F3-B8018DF0932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09D5614F-7EA7-CB89-DCEF-F18FE98A608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D14B0289-5021-35FB-FC47-56DD511945F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674C76FA-4195-990F-18E3-9775F5299C0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id="{B72BA532-08B4-3070-8811-3713D323ADE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id="{5BE85C07-5696-C90C-90EA-495C664263B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id="{08A46122-5969-5217-24B7-CCDE04315C3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id="{8412F5AF-EE66-8457-7C2D-BEE82025350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id="{F1118D8C-84EA-E459-99AC-CC0315A9848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4" name="Freeform 20">
              <a:extLst>
                <a:ext uri="{FF2B5EF4-FFF2-40B4-BE49-F238E27FC236}">
                  <a16:creationId xmlns:a16="http://schemas.microsoft.com/office/drawing/2014/main" id="{FA9AD4CF-03CA-7191-142C-E865FCDE9A5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5" name="Freeform 21">
              <a:extLst>
                <a:ext uri="{FF2B5EF4-FFF2-40B4-BE49-F238E27FC236}">
                  <a16:creationId xmlns:a16="http://schemas.microsoft.com/office/drawing/2014/main" id="{EE5B62F2-3903-37E9-2658-20B5761DCB7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6" name="Freeform 22">
              <a:extLst>
                <a:ext uri="{FF2B5EF4-FFF2-40B4-BE49-F238E27FC236}">
                  <a16:creationId xmlns:a16="http://schemas.microsoft.com/office/drawing/2014/main" id="{CD938BCE-BCAE-4E5D-8331-AA226685E17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7" name="Freeform 23">
              <a:extLst>
                <a:ext uri="{FF2B5EF4-FFF2-40B4-BE49-F238E27FC236}">
                  <a16:creationId xmlns:a16="http://schemas.microsoft.com/office/drawing/2014/main" id="{C333672F-D4D8-E2A5-87CD-6D556049DCD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8" name="Freeform 24">
              <a:extLst>
                <a:ext uri="{FF2B5EF4-FFF2-40B4-BE49-F238E27FC236}">
                  <a16:creationId xmlns:a16="http://schemas.microsoft.com/office/drawing/2014/main" id="{BF3BF6D9-578F-4DFA-3B49-5FBAA23130B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9" name="Freeform 25">
              <a:extLst>
                <a:ext uri="{FF2B5EF4-FFF2-40B4-BE49-F238E27FC236}">
                  <a16:creationId xmlns:a16="http://schemas.microsoft.com/office/drawing/2014/main" id="{09EB08AD-9074-B5E0-99F2-A5B93CC7622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id="{A20544A3-5F14-7CAD-E53F-D8A4E6B1823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1" name="Freeform 27">
              <a:extLst>
                <a:ext uri="{FF2B5EF4-FFF2-40B4-BE49-F238E27FC236}">
                  <a16:creationId xmlns:a16="http://schemas.microsoft.com/office/drawing/2014/main" id="{20761339-87FE-7A54-9CA4-37DA63E498F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2" name="Freeform 28">
              <a:extLst>
                <a:ext uri="{FF2B5EF4-FFF2-40B4-BE49-F238E27FC236}">
                  <a16:creationId xmlns:a16="http://schemas.microsoft.com/office/drawing/2014/main" id="{8190A420-6CA0-16E0-5D45-8F120C2C9A6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08AA097B-3A20-6FED-ECFC-B6D228AB017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40" name="Rechteck 44">
            <a:extLst>
              <a:ext uri="{FF2B5EF4-FFF2-40B4-BE49-F238E27FC236}">
                <a16:creationId xmlns:a16="http://schemas.microsoft.com/office/drawing/2014/main" id="{23A03102-1C47-3EA0-D7B4-BBB327797E0D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D6A17659-2F6E-7AE5-DB24-077BF91AF2F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1926306"/>
            <a:ext cx="4286250" cy="876300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3347EDE5-760E-E000-17AA-A7E863AF355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290856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0597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47DFBB81-771E-6CD4-1CB8-5F863F1B2E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1586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DFBB81-771E-6CD4-1CB8-5F863F1B2E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00242F6-C996-49D1-F08C-FC8DF54043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C3DF3E4-E5A5-6024-A182-C6BB16AEB24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7987" y="1484312"/>
            <a:ext cx="3600451" cy="4897437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F95798D-D3AF-7F77-EA72-568373D7225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295776" y="1484312"/>
            <a:ext cx="3600450" cy="4897437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93F9D29-F169-6744-8378-BC67C99130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196C7-E992-43AB-8F76-578993D9CEAE}" type="datetime1">
              <a:rPr lang="de-DE" smtClean="0"/>
              <a:t>27.01.25</a:t>
            </a:fld>
            <a:endParaRPr lang="en-CA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EAAC672-B9EF-8B5B-1D3F-963E1075C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F94F17A-32D5-C51C-5C2B-3503D5CE4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/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6" name="Inhaltsplatzhalter 3">
            <a:extLst>
              <a:ext uri="{FF2B5EF4-FFF2-40B4-BE49-F238E27FC236}">
                <a16:creationId xmlns:a16="http://schemas.microsoft.com/office/drawing/2014/main" id="{00FA3DA0-5170-5E85-18A4-A320A5432E05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183562" y="1484312"/>
            <a:ext cx="3600450" cy="4897437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16" name="Rechteck 44">
            <a:extLst>
              <a:ext uri="{FF2B5EF4-FFF2-40B4-BE49-F238E27FC236}">
                <a16:creationId xmlns:a16="http://schemas.microsoft.com/office/drawing/2014/main" id="{DB90F542-A91C-6402-32C0-CFB7F1F7ED31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C260CDA-5D77-F8C9-C126-BCE7032DFD4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2326356"/>
            <a:ext cx="4286250" cy="8763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435B5EE-E845-D788-24C1-8DE9A9D5632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330861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04828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ntents blu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A39D31F-72A1-9494-80EA-D2C514D6A5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1667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39D31F-72A1-9494-80EA-D2C514D6A5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7C8D850-AF7E-8F4D-CEF3-B47C121EC3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558CD2-52FA-4D7C-A86C-723F48EB75AD}" type="datetime1">
              <a:rPr lang="de-DE" smtClean="0"/>
              <a:t>27.01.25</a:t>
            </a:fld>
            <a:endParaRPr lang="en-CA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89C0FBA-71BD-3026-F678-D62D69D42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CBC7D96-82C2-1A0A-F46E-E381D1FE70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F4836234-3D1D-3182-9BB0-5BBD9B6A42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>
                <a:solidFill>
                  <a:schemeClr val="accent3"/>
                </a:solidFill>
              </a:defRPr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C28FCC8D-7929-4B59-8390-04C6C197848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7987" y="1484312"/>
            <a:ext cx="3600451" cy="48974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9FFBA01F-4E9D-52E6-DAED-6F52770EA47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295776" y="1484312"/>
            <a:ext cx="3600451" cy="48974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593F718-02FC-50D6-2400-9821D489B874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7D044B1B-0DBE-7215-5F15-794DC75F38CB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8183565" y="1484312"/>
            <a:ext cx="3600451" cy="48974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grpSp>
        <p:nvGrpSpPr>
          <p:cNvPr id="8" name="Gruppieren 14">
            <a:extLst>
              <a:ext uri="{FF2B5EF4-FFF2-40B4-BE49-F238E27FC236}">
                <a16:creationId xmlns:a16="http://schemas.microsoft.com/office/drawing/2014/main" id="{3241A203-F8B6-A071-8FAF-FED6AC7EF5D8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D9D7AF90-0BF3-F25D-6355-E5E9FD934C8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0" name="Rectangle 8">
              <a:extLst>
                <a:ext uri="{FF2B5EF4-FFF2-40B4-BE49-F238E27FC236}">
                  <a16:creationId xmlns:a16="http://schemas.microsoft.com/office/drawing/2014/main" id="{059D6E6A-8F93-6745-3D30-2450C2C1C92D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" name="Rectangle 9">
              <a:extLst>
                <a:ext uri="{FF2B5EF4-FFF2-40B4-BE49-F238E27FC236}">
                  <a16:creationId xmlns:a16="http://schemas.microsoft.com/office/drawing/2014/main" id="{FB24098F-945D-038C-8A5D-DBB9332A4922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BF873B85-700B-CDFF-48C5-5396AC3A5DA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97A0A947-C36A-6771-B3EC-EA98F3C4FB4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id="{46E0E8C4-13CA-51BB-B4CA-5CC5DD4442D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2EAA93E4-6855-41DC-E56A-86B0A140C49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3335B7FA-9CDF-3AA8-AA41-9E9E1A9744B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39D99385-87DF-874A-F0CC-4850ABA12F8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A1BF721F-D8E6-7F2E-9E96-5CD54275620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112EAB18-A203-BB2F-7BC7-00DFB7292FC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3" name="Freeform 18">
              <a:extLst>
                <a:ext uri="{FF2B5EF4-FFF2-40B4-BE49-F238E27FC236}">
                  <a16:creationId xmlns:a16="http://schemas.microsoft.com/office/drawing/2014/main" id="{42626489-0C8C-3BB6-B26F-37A9ECCB219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id="{FB39C404-6CB3-C7F3-BE99-1A46CAF3D7D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5" name="Freeform 20">
              <a:extLst>
                <a:ext uri="{FF2B5EF4-FFF2-40B4-BE49-F238E27FC236}">
                  <a16:creationId xmlns:a16="http://schemas.microsoft.com/office/drawing/2014/main" id="{D3D19B17-28AF-4EE8-1A39-B787BE301A9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6" name="Freeform 21">
              <a:extLst>
                <a:ext uri="{FF2B5EF4-FFF2-40B4-BE49-F238E27FC236}">
                  <a16:creationId xmlns:a16="http://schemas.microsoft.com/office/drawing/2014/main" id="{2E9F2C8B-B248-66F4-9F75-4314B0825E9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7" name="Freeform 22">
              <a:extLst>
                <a:ext uri="{FF2B5EF4-FFF2-40B4-BE49-F238E27FC236}">
                  <a16:creationId xmlns:a16="http://schemas.microsoft.com/office/drawing/2014/main" id="{9E954A22-B70B-6726-7EEF-7BB200BCB40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8" name="Freeform 23">
              <a:extLst>
                <a:ext uri="{FF2B5EF4-FFF2-40B4-BE49-F238E27FC236}">
                  <a16:creationId xmlns:a16="http://schemas.microsoft.com/office/drawing/2014/main" id="{30E23B53-6948-974D-0838-6A541764A45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C1220D96-9651-CDDA-7162-0B370E660A1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CB599C0F-B910-8F62-6CDB-D36F76272A7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1" name="Freeform 26">
              <a:extLst>
                <a:ext uri="{FF2B5EF4-FFF2-40B4-BE49-F238E27FC236}">
                  <a16:creationId xmlns:a16="http://schemas.microsoft.com/office/drawing/2014/main" id="{26F2B42C-2EE5-FFC9-C47F-D950B78E1CF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2" name="Freeform 27">
              <a:extLst>
                <a:ext uri="{FF2B5EF4-FFF2-40B4-BE49-F238E27FC236}">
                  <a16:creationId xmlns:a16="http://schemas.microsoft.com/office/drawing/2014/main" id="{A56C4280-66FD-C405-604C-5BBB6D8E799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3" name="Freeform 28">
              <a:extLst>
                <a:ext uri="{FF2B5EF4-FFF2-40B4-BE49-F238E27FC236}">
                  <a16:creationId xmlns:a16="http://schemas.microsoft.com/office/drawing/2014/main" id="{9D6E23D5-DFB2-1A6C-812E-11EAB777A1A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4" name="Freeform 29">
              <a:extLst>
                <a:ext uri="{FF2B5EF4-FFF2-40B4-BE49-F238E27FC236}">
                  <a16:creationId xmlns:a16="http://schemas.microsoft.com/office/drawing/2014/main" id="{2D818BA4-1D4D-8BF8-4CBD-98E591156FB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38" name="Rechteck 44">
            <a:extLst>
              <a:ext uri="{FF2B5EF4-FFF2-40B4-BE49-F238E27FC236}">
                <a16:creationId xmlns:a16="http://schemas.microsoft.com/office/drawing/2014/main" id="{E4A99DAC-56E1-85DA-5A06-F85A52E5C310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28E6BA16-3476-21CD-8B8A-9CCD705B7E3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1926306"/>
            <a:ext cx="4286250" cy="876300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74725336-7E97-7FB5-984A-FEA68463B9E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290856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4409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Client Logo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>
            <a:extLst>
              <a:ext uri="{FF2B5EF4-FFF2-40B4-BE49-F238E27FC236}">
                <a16:creationId xmlns:a16="http://schemas.microsoft.com/office/drawing/2014/main" id="{29AC1DB3-A364-5A5A-4458-F6D215741209}"/>
              </a:ext>
            </a:extLst>
          </p:cNvPr>
          <p:cNvSpPr>
            <a:spLocks/>
          </p:cNvSpPr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>
                  <a:alpha val="95000"/>
                </a:schemeClr>
              </a:gs>
              <a:gs pos="100000">
                <a:srgbClr val="3264FF">
                  <a:alpha val="90000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32" name="think-cell data - do not delete" hidden="1">
            <a:extLst>
              <a:ext uri="{FF2B5EF4-FFF2-40B4-BE49-F238E27FC236}">
                <a16:creationId xmlns:a16="http://schemas.microsoft.com/office/drawing/2014/main" id="{628C9344-420C-C1CC-023E-872975F9EF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4406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8C9344-420C-C1CC-023E-872975F9EF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57DD1241-2A1B-F420-A921-54F65AB2613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79554" y="6019840"/>
            <a:ext cx="1033611" cy="361910"/>
          </a:xfrm>
          <a:prstGeom prst="roundRect">
            <a:avLst>
              <a:gd name="adj" fmla="val 50000"/>
            </a:avLst>
          </a:prstGeom>
          <a:ln>
            <a:solidFill>
              <a:schemeClr val="bg1"/>
            </a:solidFill>
          </a:ln>
        </p:spPr>
        <p:txBody>
          <a:bodyPr wrap="none" lIns="36000" tIns="36000" rIns="36000" bIns="36000" anchor="ctr">
            <a:spAutoFit/>
          </a:bodyPr>
          <a:lstStyle>
            <a:lvl1pPr marL="0" indent="0" algn="ctr">
              <a:buNone/>
              <a:defRPr sz="1200" cap="all" baseline="0">
                <a:solidFill>
                  <a:schemeClr val="bg1"/>
                </a:solidFill>
              </a:defRPr>
            </a:lvl1pPr>
            <a:lvl2pPr marL="252000" indent="0" algn="ctr">
              <a:buNone/>
              <a:defRPr>
                <a:solidFill>
                  <a:schemeClr val="bg1"/>
                </a:solidFill>
              </a:defRPr>
            </a:lvl2pPr>
            <a:lvl3pPr marL="504000" indent="0" algn="ctr">
              <a:buNone/>
              <a:defRPr>
                <a:solidFill>
                  <a:schemeClr val="bg1"/>
                </a:solidFill>
              </a:defRPr>
            </a:lvl3pPr>
            <a:lvl4pPr marL="756000" indent="0" algn="ctr">
              <a:buNone/>
              <a:defRPr>
                <a:solidFill>
                  <a:schemeClr val="bg1"/>
                </a:solidFill>
              </a:defRPr>
            </a:lvl4pPr>
            <a:lvl5pPr marL="10080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Place, Date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77E39F36-F128-1B55-146B-6650CBC97892}"/>
              </a:ext>
            </a:extLst>
          </p:cNvPr>
          <p:cNvSpPr/>
          <p:nvPr userDrawn="1"/>
        </p:nvSpPr>
        <p:spPr>
          <a:xfrm>
            <a:off x="12341678" y="0"/>
            <a:ext cx="301275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algn="l"/>
            <a:r>
              <a:rPr lang="en-CA" sz="1400" dirty="0">
                <a:solidFill>
                  <a:schemeClr val="tx2"/>
                </a:solidFill>
              </a:rPr>
              <a:t>To add a background image, right click on slide – “Format Background” – “Picture or texture fill”</a:t>
            </a:r>
          </a:p>
          <a:p>
            <a:pPr algn="l"/>
            <a:endParaRPr lang="en-CA" sz="1400" dirty="0">
              <a:solidFill>
                <a:schemeClr val="tx2"/>
              </a:solidFill>
            </a:endParaRPr>
          </a:p>
          <a:p>
            <a:pPr algn="l"/>
            <a:r>
              <a:rPr lang="en-CA" sz="1400" dirty="0">
                <a:solidFill>
                  <a:schemeClr val="tx2"/>
                </a:solidFill>
              </a:rPr>
              <a:t>To add client logo – consider as a reference the positioning of the dedicated space and adjust the client logo considering the orientation and aspect ratio to be similar with MHP Logo area. Delete the placeholder afterwards. </a:t>
            </a:r>
          </a:p>
          <a:p>
            <a:pPr algn="l"/>
            <a:endParaRPr lang="en-CA" sz="1400" dirty="0">
              <a:solidFill>
                <a:schemeClr val="tx2"/>
              </a:solidFill>
            </a:endParaRPr>
          </a:p>
          <a:p>
            <a:pPr algn="l"/>
            <a:r>
              <a:rPr lang="en-CA" sz="1400" b="1" dirty="0">
                <a:solidFill>
                  <a:schemeClr val="tx2"/>
                </a:solidFill>
              </a:rPr>
              <a:t>Mandatory: </a:t>
            </a:r>
          </a:p>
          <a:p>
            <a:pPr algn="l"/>
            <a:endParaRPr lang="en-CA" sz="1400" dirty="0">
              <a:solidFill>
                <a:schemeClr val="tx2"/>
              </a:solidFill>
            </a:endParaRPr>
          </a:p>
          <a:p>
            <a:pPr algn="l"/>
            <a:r>
              <a:rPr lang="en-CA" sz="1400" dirty="0">
                <a:solidFill>
                  <a:schemeClr val="tx2"/>
                </a:solidFill>
              </a:rPr>
              <a:t>Use a .</a:t>
            </a:r>
            <a:r>
              <a:rPr lang="en-CA" sz="1400" dirty="0" err="1">
                <a:solidFill>
                  <a:schemeClr val="tx2"/>
                </a:solidFill>
              </a:rPr>
              <a:t>png</a:t>
            </a:r>
            <a:r>
              <a:rPr lang="en-CA" sz="1400" dirty="0">
                <a:solidFill>
                  <a:schemeClr val="tx2"/>
                </a:solidFill>
              </a:rPr>
              <a:t> (transparent background) logo, recommended white for full readability or original if it fits the dark background</a:t>
            </a:r>
          </a:p>
        </p:txBody>
      </p:sp>
      <p:grpSp>
        <p:nvGrpSpPr>
          <p:cNvPr id="7" name="Gruppieren 14">
            <a:extLst>
              <a:ext uri="{FF2B5EF4-FFF2-40B4-BE49-F238E27FC236}">
                <a16:creationId xmlns:a16="http://schemas.microsoft.com/office/drawing/2014/main" id="{0791681C-A270-31D1-136C-A834B9040DE2}"/>
              </a:ext>
            </a:extLst>
          </p:cNvPr>
          <p:cNvGrpSpPr/>
          <p:nvPr/>
        </p:nvGrpSpPr>
        <p:grpSpPr bwMode="black">
          <a:xfrm>
            <a:off x="6678254" y="1489175"/>
            <a:ext cx="1750997" cy="698495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0C7EB7FE-9E26-6D38-4EF4-8D05F0B1612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C1B1149-6FFC-3C39-741A-D65A146D0120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3B5A6BB-4A9C-4F0C-B52E-2CBFA5ECD263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A1EB3F81-091B-00E3-1856-B1BA2DCEA45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BD666F36-23AE-A6A5-CAB9-342D2630DB3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A96F0A04-E2E3-B3EC-B00A-F36880FEB77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44C81523-CD38-AEA9-43CE-DE09A4ED5A7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4218DF69-828F-3E45-7EE4-2A9CC2B4C2D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093CED59-BA48-4657-D2B5-E016DB82299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id="{A6A57279-FA69-ABA2-F8DF-B603C3090AE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id="{2CDF7285-422F-47FB-3220-AB280340929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0" name="Freeform 18">
              <a:extLst>
                <a:ext uri="{FF2B5EF4-FFF2-40B4-BE49-F238E27FC236}">
                  <a16:creationId xmlns:a16="http://schemas.microsoft.com/office/drawing/2014/main" id="{B4836D42-D0EF-B8EE-579A-26416908E52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1" name="Freeform 19">
              <a:extLst>
                <a:ext uri="{FF2B5EF4-FFF2-40B4-BE49-F238E27FC236}">
                  <a16:creationId xmlns:a16="http://schemas.microsoft.com/office/drawing/2014/main" id="{2A93973F-41B4-C487-0EF4-61721F56ABE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2" name="Freeform 20">
              <a:extLst>
                <a:ext uri="{FF2B5EF4-FFF2-40B4-BE49-F238E27FC236}">
                  <a16:creationId xmlns:a16="http://schemas.microsoft.com/office/drawing/2014/main" id="{C10F19E0-AA4C-C957-0739-BD4BF16438E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3" name="Freeform 21">
              <a:extLst>
                <a:ext uri="{FF2B5EF4-FFF2-40B4-BE49-F238E27FC236}">
                  <a16:creationId xmlns:a16="http://schemas.microsoft.com/office/drawing/2014/main" id="{0082C831-8EC3-6575-2CC2-C2F0BEBEC15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4" name="Freeform 22">
              <a:extLst>
                <a:ext uri="{FF2B5EF4-FFF2-40B4-BE49-F238E27FC236}">
                  <a16:creationId xmlns:a16="http://schemas.microsoft.com/office/drawing/2014/main" id="{1E0F5E51-A2F6-4344-ADDD-6095C04994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5" name="Freeform 23">
              <a:extLst>
                <a:ext uri="{FF2B5EF4-FFF2-40B4-BE49-F238E27FC236}">
                  <a16:creationId xmlns:a16="http://schemas.microsoft.com/office/drawing/2014/main" id="{B5E05BD9-24C2-2339-2B1B-1BC8E072EE5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6" name="Freeform 24">
              <a:extLst>
                <a:ext uri="{FF2B5EF4-FFF2-40B4-BE49-F238E27FC236}">
                  <a16:creationId xmlns:a16="http://schemas.microsoft.com/office/drawing/2014/main" id="{FCFBD939-A61B-B1BE-B4C5-EFEBF0EB4C1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7" name="Freeform 25">
              <a:extLst>
                <a:ext uri="{FF2B5EF4-FFF2-40B4-BE49-F238E27FC236}">
                  <a16:creationId xmlns:a16="http://schemas.microsoft.com/office/drawing/2014/main" id="{65C71E6A-03AD-58B4-9B90-E303BA8F1F8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8" name="Freeform 26">
              <a:extLst>
                <a:ext uri="{FF2B5EF4-FFF2-40B4-BE49-F238E27FC236}">
                  <a16:creationId xmlns:a16="http://schemas.microsoft.com/office/drawing/2014/main" id="{67D425F8-DBC1-EFD2-E35C-F3FBC8AE65E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9" name="Freeform 27">
              <a:extLst>
                <a:ext uri="{FF2B5EF4-FFF2-40B4-BE49-F238E27FC236}">
                  <a16:creationId xmlns:a16="http://schemas.microsoft.com/office/drawing/2014/main" id="{DC58C6BA-5788-C418-9536-95411D30FCF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0" name="Freeform 28">
              <a:extLst>
                <a:ext uri="{FF2B5EF4-FFF2-40B4-BE49-F238E27FC236}">
                  <a16:creationId xmlns:a16="http://schemas.microsoft.com/office/drawing/2014/main" id="{947CF438-BACC-8F13-E01F-7FEA975452A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1" name="Freeform 29">
              <a:extLst>
                <a:ext uri="{FF2B5EF4-FFF2-40B4-BE49-F238E27FC236}">
                  <a16:creationId xmlns:a16="http://schemas.microsoft.com/office/drawing/2014/main" id="{8C2FCA06-BB7D-74FD-8CB0-6EA1B01BBE3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AB0A9DC-4EF4-A5A7-DA22-B7FA91C153A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70471" y="1484313"/>
            <a:ext cx="1943100" cy="698400"/>
          </a:xfrm>
          <a:ln>
            <a:noFill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CA"/>
              <a:t>Dedicated placeholder for client logo</a:t>
            </a:r>
          </a:p>
        </p:txBody>
      </p:sp>
      <p:sp>
        <p:nvSpPr>
          <p:cNvPr id="46" name="Titel 1">
            <a:extLst>
              <a:ext uri="{FF2B5EF4-FFF2-40B4-BE49-F238E27FC236}">
                <a16:creationId xmlns:a16="http://schemas.microsoft.com/office/drawing/2014/main" id="{97037FA9-A734-926E-B263-6D5001908A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3350659"/>
            <a:ext cx="9144000" cy="553998"/>
          </a:xfrm>
        </p:spPr>
        <p:txBody>
          <a:bodyPr vert="horz" anchor="t"/>
          <a:lstStyle>
            <a:lvl1pPr algn="ctr"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Add </a:t>
            </a:r>
            <a:r>
              <a:rPr lang="de-DE" err="1"/>
              <a:t>presentation</a:t>
            </a:r>
            <a:r>
              <a:rPr lang="de-DE"/>
              <a:t> </a:t>
            </a:r>
            <a:r>
              <a:rPr lang="de-DE" err="1"/>
              <a:t>titlE</a:t>
            </a:r>
            <a:endParaRPr lang="en-CA"/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A212A3AF-326B-C975-D514-7789D0AA06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5441245"/>
            <a:ext cx="9144000" cy="276999"/>
          </a:xfrm>
        </p:spPr>
        <p:txBody>
          <a:bodyPr>
            <a:spAutoFit/>
          </a:bodyPr>
          <a:lstStyle>
            <a:lvl1pPr marL="0" indent="0" algn="ctr">
              <a:buNone/>
              <a:defRPr sz="18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HP Quote-</a:t>
            </a:r>
            <a:r>
              <a:rPr lang="de-DE" err="1"/>
              <a:t>No</a:t>
            </a:r>
            <a:r>
              <a:rPr lang="de-DE"/>
              <a:t>. 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840709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subheadlin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3F409106-F8C2-3426-81D6-BAFFBE65C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058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409106-F8C2-3426-81D6-BAFFBE65C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00242F6-C996-49D1-F08C-FC8DF54043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C3DF3E4-E5A5-6024-A182-C6BB16AEB24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7987" y="1926307"/>
            <a:ext cx="5543551" cy="4440437"/>
          </a:xfrm>
        </p:spPr>
        <p:txBody>
          <a:bodyPr/>
          <a:lstStyle/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  <a:endParaRPr lang="en-CA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F95798D-D3AF-7F77-EA72-568373D7225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40464" y="1926306"/>
            <a:ext cx="5543550" cy="4455443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93F9D29-F169-6744-8378-BC67C99130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B37C8C-F68A-4E06-9922-6EEE86F126B4}" type="datetime1">
              <a:rPr lang="de-DE" smtClean="0"/>
              <a:t>27.01.25</a:t>
            </a:fld>
            <a:endParaRPr lang="en-CA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EAAC672-B9EF-8B5B-1D3F-963E1075C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F94F17A-32D5-C51C-5C2B-3503D5CE4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/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14" name="Textplatzhalter 52">
            <a:extLst>
              <a:ext uri="{FF2B5EF4-FFF2-40B4-BE49-F238E27FC236}">
                <a16:creationId xmlns:a16="http://schemas.microsoft.com/office/drawing/2014/main" id="{D09A9ACB-20C1-8ADC-6CE5-9A102D9160B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987" y="1485415"/>
            <a:ext cx="5543549" cy="246221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cap="none" baseline="0">
                <a:solidFill>
                  <a:schemeClr val="accent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eadline</a:t>
            </a:r>
            <a:endParaRPr lang="en-CA"/>
          </a:p>
        </p:txBody>
      </p:sp>
      <p:sp>
        <p:nvSpPr>
          <p:cNvPr id="15" name="Textplatzhalter 52">
            <a:extLst>
              <a:ext uri="{FF2B5EF4-FFF2-40B4-BE49-F238E27FC236}">
                <a16:creationId xmlns:a16="http://schemas.microsoft.com/office/drawing/2014/main" id="{169E8F25-A699-ECFC-4807-B28AACA2155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40463" y="1485415"/>
            <a:ext cx="5543549" cy="246221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cap="none" baseline="0">
                <a:solidFill>
                  <a:schemeClr val="accent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Headline</a:t>
            </a:r>
            <a:endParaRPr lang="en-CA" dirty="0"/>
          </a:p>
        </p:txBody>
      </p:sp>
      <p:sp>
        <p:nvSpPr>
          <p:cNvPr id="18" name="Rechteck 44">
            <a:extLst>
              <a:ext uri="{FF2B5EF4-FFF2-40B4-BE49-F238E27FC236}">
                <a16:creationId xmlns:a16="http://schemas.microsoft.com/office/drawing/2014/main" id="{08061D5E-9858-1D45-4E4E-6BE080945DD6}"/>
              </a:ext>
            </a:extLst>
          </p:cNvPr>
          <p:cNvSpPr/>
          <p:nvPr userDrawn="1"/>
        </p:nvSpPr>
        <p:spPr>
          <a:xfrm>
            <a:off x="12341678" y="0"/>
            <a:ext cx="3012754" cy="72771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accent6"/>
                </a:solidFill>
              </a:rPr>
              <a:t>Headline: try to keep it short, within ONE line. Do not extend the placeholder!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AC05593-650F-3285-0BB3-5244467CEFF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2326356"/>
            <a:ext cx="4286250" cy="8763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118B1A89-95BA-0493-FE4D-54EF6A6B3CC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330861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27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3" userDrawn="1">
          <p15:clr>
            <a:srgbClr val="FBAE40"/>
          </p15:clr>
        </p15:guide>
        <p15:guide id="2" orient="horz" pos="1068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s with subheadline blu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EE16401-7CFF-3AC2-C269-03FE0B7259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6813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16401-7CFF-3AC2-C269-03FE0B7259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00242F6-C996-49D1-F08C-FC8DF54043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93F9D29-F169-6744-8378-BC67C99130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B37C8C-F68A-4E06-9922-6EEE86F126B4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EAAC672-B9EF-8B5B-1D3F-963E1075C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F94F17A-32D5-C51C-5C2B-3503D5CE4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>
                <a:solidFill>
                  <a:schemeClr val="accent3"/>
                </a:solidFill>
              </a:defRPr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CA"/>
              <a:t>Header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91ED029C-FBA2-7F25-4159-04687CD57C81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grpSp>
        <p:nvGrpSpPr>
          <p:cNvPr id="6" name="Gruppieren 14">
            <a:extLst>
              <a:ext uri="{FF2B5EF4-FFF2-40B4-BE49-F238E27FC236}">
                <a16:creationId xmlns:a16="http://schemas.microsoft.com/office/drawing/2014/main" id="{742EC5A9-E8AE-E9B9-AE98-B56E2078DFE3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37D736AF-581A-ACD7-1540-1660EB27AA0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Rectangle 8">
              <a:extLst>
                <a:ext uri="{FF2B5EF4-FFF2-40B4-BE49-F238E27FC236}">
                  <a16:creationId xmlns:a16="http://schemas.microsoft.com/office/drawing/2014/main" id="{34872B78-4DC7-3C82-CC80-8617065935AC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9" name="Rectangle 9">
              <a:extLst>
                <a:ext uri="{FF2B5EF4-FFF2-40B4-BE49-F238E27FC236}">
                  <a16:creationId xmlns:a16="http://schemas.microsoft.com/office/drawing/2014/main" id="{61FDB7F7-F854-9144-DDE6-C637CDE2DAA1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CEA6CAF6-84A7-62A1-EC63-7CDB2D3BB0F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1">
              <a:extLst>
                <a:ext uri="{FF2B5EF4-FFF2-40B4-BE49-F238E27FC236}">
                  <a16:creationId xmlns:a16="http://schemas.microsoft.com/office/drawing/2014/main" id="{A0121064-4BA1-A0D5-F98B-4C9C65B15E1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2" name="Freeform 12">
              <a:extLst>
                <a:ext uri="{FF2B5EF4-FFF2-40B4-BE49-F238E27FC236}">
                  <a16:creationId xmlns:a16="http://schemas.microsoft.com/office/drawing/2014/main" id="{AE627AAF-C69B-CDD8-CD2D-68562445716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3" name="Freeform 13">
              <a:extLst>
                <a:ext uri="{FF2B5EF4-FFF2-40B4-BE49-F238E27FC236}">
                  <a16:creationId xmlns:a16="http://schemas.microsoft.com/office/drawing/2014/main" id="{0E7F2C9D-9BBF-7BBA-0761-FACB842A37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4">
              <a:extLst>
                <a:ext uri="{FF2B5EF4-FFF2-40B4-BE49-F238E27FC236}">
                  <a16:creationId xmlns:a16="http://schemas.microsoft.com/office/drawing/2014/main" id="{9E092EE9-4F3B-FA6C-C063-772671594A9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5">
              <a:extLst>
                <a:ext uri="{FF2B5EF4-FFF2-40B4-BE49-F238E27FC236}">
                  <a16:creationId xmlns:a16="http://schemas.microsoft.com/office/drawing/2014/main" id="{2F3B1EF8-8E45-4B2B-DF3C-FF4808FEDFC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16">
              <a:extLst>
                <a:ext uri="{FF2B5EF4-FFF2-40B4-BE49-F238E27FC236}">
                  <a16:creationId xmlns:a16="http://schemas.microsoft.com/office/drawing/2014/main" id="{39A3E306-C368-0276-5CC8-35853260595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7" name="Freeform 17">
              <a:extLst>
                <a:ext uri="{FF2B5EF4-FFF2-40B4-BE49-F238E27FC236}">
                  <a16:creationId xmlns:a16="http://schemas.microsoft.com/office/drawing/2014/main" id="{D00233EA-51CB-7CD0-7B2F-39D0AEF2F5B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18">
              <a:extLst>
                <a:ext uri="{FF2B5EF4-FFF2-40B4-BE49-F238E27FC236}">
                  <a16:creationId xmlns:a16="http://schemas.microsoft.com/office/drawing/2014/main" id="{55ED8B77-CA49-4CC0-E2F1-F3A58D83A9B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19">
              <a:extLst>
                <a:ext uri="{FF2B5EF4-FFF2-40B4-BE49-F238E27FC236}">
                  <a16:creationId xmlns:a16="http://schemas.microsoft.com/office/drawing/2014/main" id="{54B082B0-C060-D012-8873-4142D06C1DD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20">
              <a:extLst>
                <a:ext uri="{FF2B5EF4-FFF2-40B4-BE49-F238E27FC236}">
                  <a16:creationId xmlns:a16="http://schemas.microsoft.com/office/drawing/2014/main" id="{A61C8E3A-46A5-5B6F-4BF3-3EF69EA56D8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1">
              <a:extLst>
                <a:ext uri="{FF2B5EF4-FFF2-40B4-BE49-F238E27FC236}">
                  <a16:creationId xmlns:a16="http://schemas.microsoft.com/office/drawing/2014/main" id="{14E87872-A95B-FA41-368A-4A7892473EE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2">
              <a:extLst>
                <a:ext uri="{FF2B5EF4-FFF2-40B4-BE49-F238E27FC236}">
                  <a16:creationId xmlns:a16="http://schemas.microsoft.com/office/drawing/2014/main" id="{BA7B12D6-FCE5-CEED-3CCF-1D8BAFEBA16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23">
              <a:extLst>
                <a:ext uri="{FF2B5EF4-FFF2-40B4-BE49-F238E27FC236}">
                  <a16:creationId xmlns:a16="http://schemas.microsoft.com/office/drawing/2014/main" id="{1A24FA47-114E-B1D4-29F3-CE5824495F9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24">
              <a:extLst>
                <a:ext uri="{FF2B5EF4-FFF2-40B4-BE49-F238E27FC236}">
                  <a16:creationId xmlns:a16="http://schemas.microsoft.com/office/drawing/2014/main" id="{A3D35E6A-9D19-0680-DBF1-E4253564059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25">
              <a:extLst>
                <a:ext uri="{FF2B5EF4-FFF2-40B4-BE49-F238E27FC236}">
                  <a16:creationId xmlns:a16="http://schemas.microsoft.com/office/drawing/2014/main" id="{63352FAC-8A8F-CFF3-4339-685E1425426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6" name="Freeform 26">
              <a:extLst>
                <a:ext uri="{FF2B5EF4-FFF2-40B4-BE49-F238E27FC236}">
                  <a16:creationId xmlns:a16="http://schemas.microsoft.com/office/drawing/2014/main" id="{726394E4-0E43-D26C-A794-785497CDE0F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27">
              <a:extLst>
                <a:ext uri="{FF2B5EF4-FFF2-40B4-BE49-F238E27FC236}">
                  <a16:creationId xmlns:a16="http://schemas.microsoft.com/office/drawing/2014/main" id="{A2C50C21-AD30-37B7-ADF1-F4C410125B0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8" name="Freeform 28">
              <a:extLst>
                <a:ext uri="{FF2B5EF4-FFF2-40B4-BE49-F238E27FC236}">
                  <a16:creationId xmlns:a16="http://schemas.microsoft.com/office/drawing/2014/main" id="{200D7173-B94D-5B9D-E106-55F0A774E41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9" name="Freeform 29">
              <a:extLst>
                <a:ext uri="{FF2B5EF4-FFF2-40B4-BE49-F238E27FC236}">
                  <a16:creationId xmlns:a16="http://schemas.microsoft.com/office/drawing/2014/main" id="{532AF3E2-18E0-DA7D-2853-F1DF0FD9529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FB21F7B3-A9F4-5A4B-0A04-CB915A4A7264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7987" y="1926307"/>
            <a:ext cx="5543551" cy="44404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  <a:endParaRPr lang="en-CA" dirty="0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0CF17633-EDA9-9B94-E0CD-422DCA0657B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40464" y="1926306"/>
            <a:ext cx="5543550" cy="445544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  <a:endParaRPr lang="en-CA" dirty="0"/>
          </a:p>
        </p:txBody>
      </p:sp>
      <p:sp>
        <p:nvSpPr>
          <p:cNvPr id="13" name="Textplatzhalter 52">
            <a:extLst>
              <a:ext uri="{FF2B5EF4-FFF2-40B4-BE49-F238E27FC236}">
                <a16:creationId xmlns:a16="http://schemas.microsoft.com/office/drawing/2014/main" id="{715122E0-A9D9-0BC6-443E-21ADD401CF6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987" y="1485415"/>
            <a:ext cx="5543549" cy="246221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cap="none" baseline="0">
                <a:solidFill>
                  <a:schemeClr val="bg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eadline</a:t>
            </a:r>
            <a:endParaRPr lang="en-CA"/>
          </a:p>
        </p:txBody>
      </p:sp>
      <p:sp>
        <p:nvSpPr>
          <p:cNvPr id="19" name="Textplatzhalter 52">
            <a:extLst>
              <a:ext uri="{FF2B5EF4-FFF2-40B4-BE49-F238E27FC236}">
                <a16:creationId xmlns:a16="http://schemas.microsoft.com/office/drawing/2014/main" id="{16457A01-0A6D-2AAC-AA75-C86F26A046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40463" y="1485415"/>
            <a:ext cx="5543549" cy="246221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cap="none" baseline="0">
                <a:solidFill>
                  <a:schemeClr val="bg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Headline</a:t>
            </a:r>
            <a:endParaRPr lang="en-CA" dirty="0"/>
          </a:p>
        </p:txBody>
      </p:sp>
      <p:sp>
        <p:nvSpPr>
          <p:cNvPr id="21" name="Rechteck 44">
            <a:extLst>
              <a:ext uri="{FF2B5EF4-FFF2-40B4-BE49-F238E27FC236}">
                <a16:creationId xmlns:a16="http://schemas.microsoft.com/office/drawing/2014/main" id="{FE14794B-234A-6582-D9C5-5477A4204892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accent6"/>
                </a:solidFill>
              </a:rPr>
              <a:t>Headline: try to keep it short, within ONE line. Do not extend the placeholder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6A018E8F-5946-F2B5-CA65-BD6A1FF5E36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1926306"/>
            <a:ext cx="4286250" cy="8763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71C854C-95D2-4F9E-34EE-191F8479B16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290856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060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with subheadlin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3F409106-F8C2-3426-81D6-BAFFBE65C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058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409106-F8C2-3426-81D6-BAFFBE65C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00242F6-C996-49D1-F08C-FC8DF54043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C3DF3E4-E5A5-6024-A182-C6BB16AEB24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7987" y="1929407"/>
            <a:ext cx="3600451" cy="4452343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F95798D-D3AF-7F77-EA72-568373D7225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295776" y="1929406"/>
            <a:ext cx="3600451" cy="4452343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93F9D29-F169-6744-8378-BC67C99130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B37C8C-F68A-4E06-9922-6EEE86F126B4}" type="datetime1">
              <a:rPr lang="de-DE" smtClean="0"/>
              <a:t>27.01.25</a:t>
            </a:fld>
            <a:endParaRPr lang="en-CA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EAAC672-B9EF-8B5B-1D3F-963E1075C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F94F17A-32D5-C51C-5C2B-3503D5CE4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/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6" name="Inhaltsplatzhalter 3">
            <a:extLst>
              <a:ext uri="{FF2B5EF4-FFF2-40B4-BE49-F238E27FC236}">
                <a16:creationId xmlns:a16="http://schemas.microsoft.com/office/drawing/2014/main" id="{E050860B-2365-0AD8-FF5C-360F00F16FC3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8185855" y="1929406"/>
            <a:ext cx="3600451" cy="4452343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17" name="Textplatzhalter 52">
            <a:extLst>
              <a:ext uri="{FF2B5EF4-FFF2-40B4-BE49-F238E27FC236}">
                <a16:creationId xmlns:a16="http://schemas.microsoft.com/office/drawing/2014/main" id="{FA0E36AF-4FE3-C8C5-F3B9-E584738B5E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987" y="1485415"/>
            <a:ext cx="3600451" cy="246221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cap="none" baseline="0">
                <a:solidFill>
                  <a:schemeClr val="accent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eadline</a:t>
            </a:r>
            <a:endParaRPr lang="en-CA"/>
          </a:p>
        </p:txBody>
      </p:sp>
      <p:sp>
        <p:nvSpPr>
          <p:cNvPr id="18" name="Textplatzhalter 52">
            <a:extLst>
              <a:ext uri="{FF2B5EF4-FFF2-40B4-BE49-F238E27FC236}">
                <a16:creationId xmlns:a16="http://schemas.microsoft.com/office/drawing/2014/main" id="{302E9586-5BDD-CE1C-6BFE-01752EFEC10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95776" y="1485415"/>
            <a:ext cx="3600451" cy="246221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cap="none" baseline="0">
                <a:solidFill>
                  <a:schemeClr val="accent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eadline</a:t>
            </a:r>
            <a:endParaRPr lang="en-CA"/>
          </a:p>
        </p:txBody>
      </p:sp>
      <p:sp>
        <p:nvSpPr>
          <p:cNvPr id="19" name="Textplatzhalter 52">
            <a:extLst>
              <a:ext uri="{FF2B5EF4-FFF2-40B4-BE49-F238E27FC236}">
                <a16:creationId xmlns:a16="http://schemas.microsoft.com/office/drawing/2014/main" id="{91703F42-CB19-EBDD-102A-0B57DA448E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85855" y="1485415"/>
            <a:ext cx="3600451" cy="246221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cap="none" baseline="0">
                <a:solidFill>
                  <a:schemeClr val="accent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eadline</a:t>
            </a:r>
            <a:endParaRPr lang="en-CA"/>
          </a:p>
        </p:txBody>
      </p:sp>
      <p:sp>
        <p:nvSpPr>
          <p:cNvPr id="20" name="Rechteck 44">
            <a:extLst>
              <a:ext uri="{FF2B5EF4-FFF2-40B4-BE49-F238E27FC236}">
                <a16:creationId xmlns:a16="http://schemas.microsoft.com/office/drawing/2014/main" id="{1D8239CF-8A6E-FDC4-8B5B-DAED87F27F45}"/>
              </a:ext>
            </a:extLst>
          </p:cNvPr>
          <p:cNvSpPr/>
          <p:nvPr userDrawn="1"/>
        </p:nvSpPr>
        <p:spPr>
          <a:xfrm>
            <a:off x="12341678" y="0"/>
            <a:ext cx="3012754" cy="72771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accent6"/>
                </a:solidFill>
              </a:rPr>
              <a:t>Headline: try to keep it short, within ONE line. Do not extend the placeholder!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0821BDF6-7A7B-90DA-9E61-37B04EB4A71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2326356"/>
            <a:ext cx="4286250" cy="8763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3459468-4543-3C80-1564-2F9B096F5FB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330861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42643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ntents with subheadline blu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EE16401-7CFF-3AC2-C269-03FE0B7259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6813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16401-7CFF-3AC2-C269-03FE0B7259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00242F6-C996-49D1-F08C-FC8DF54043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93F9D29-F169-6744-8378-BC67C99130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B37C8C-F68A-4E06-9922-6EEE86F126B4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EAAC672-B9EF-8B5B-1D3F-963E1075C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F94F17A-32D5-C51C-5C2B-3503D5CE4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>
                <a:solidFill>
                  <a:schemeClr val="accent3"/>
                </a:solidFill>
              </a:defRPr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CA"/>
              <a:t>Header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91ED029C-FBA2-7F25-4159-04687CD57C81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grpSp>
        <p:nvGrpSpPr>
          <p:cNvPr id="38" name="Gruppieren 14">
            <a:extLst>
              <a:ext uri="{FF2B5EF4-FFF2-40B4-BE49-F238E27FC236}">
                <a16:creationId xmlns:a16="http://schemas.microsoft.com/office/drawing/2014/main" id="{8F0CA4CF-3E14-7B5F-B13B-A855C275AD19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3641281C-6B4B-655B-138C-8EA86272776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0" name="Rectangle 8">
              <a:extLst>
                <a:ext uri="{FF2B5EF4-FFF2-40B4-BE49-F238E27FC236}">
                  <a16:creationId xmlns:a16="http://schemas.microsoft.com/office/drawing/2014/main" id="{40493CE6-9DAF-2E6C-993A-6FFE115BF529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Rectangle 9">
              <a:extLst>
                <a:ext uri="{FF2B5EF4-FFF2-40B4-BE49-F238E27FC236}">
                  <a16:creationId xmlns:a16="http://schemas.microsoft.com/office/drawing/2014/main" id="{AAA54B1A-F5E8-7D63-23B2-574A8D926350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9D724106-E5E8-4BB5-0106-9FEFDAB8A5E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62960151-D61C-63B5-FC3B-FA73948D449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85574F71-D595-1F8C-209D-43CEAC1BAEC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4662524B-BD1A-A76A-8CAB-4720E4A236A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91E89827-D635-E330-2423-9D59BBAC7E9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7" name="Freeform 15">
              <a:extLst>
                <a:ext uri="{FF2B5EF4-FFF2-40B4-BE49-F238E27FC236}">
                  <a16:creationId xmlns:a16="http://schemas.microsoft.com/office/drawing/2014/main" id="{D4D51FB7-2507-6A29-54BC-78DE24E9C14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16">
              <a:extLst>
                <a:ext uri="{FF2B5EF4-FFF2-40B4-BE49-F238E27FC236}">
                  <a16:creationId xmlns:a16="http://schemas.microsoft.com/office/drawing/2014/main" id="{5AF447D4-379E-76D6-9BC4-BC96D675E9A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17">
              <a:extLst>
                <a:ext uri="{FF2B5EF4-FFF2-40B4-BE49-F238E27FC236}">
                  <a16:creationId xmlns:a16="http://schemas.microsoft.com/office/drawing/2014/main" id="{8C2B831C-079C-679F-08FC-A4CB3CE08E3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18">
              <a:extLst>
                <a:ext uri="{FF2B5EF4-FFF2-40B4-BE49-F238E27FC236}">
                  <a16:creationId xmlns:a16="http://schemas.microsoft.com/office/drawing/2014/main" id="{C1D15072-5EAE-8516-A8BB-B1A386E736A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19">
              <a:extLst>
                <a:ext uri="{FF2B5EF4-FFF2-40B4-BE49-F238E27FC236}">
                  <a16:creationId xmlns:a16="http://schemas.microsoft.com/office/drawing/2014/main" id="{51F569E0-CE8C-9B01-FC4C-5FD14827ECE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0">
              <a:extLst>
                <a:ext uri="{FF2B5EF4-FFF2-40B4-BE49-F238E27FC236}">
                  <a16:creationId xmlns:a16="http://schemas.microsoft.com/office/drawing/2014/main" id="{30369072-3425-CC0C-8291-B3C0E7BA8F8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21">
              <a:extLst>
                <a:ext uri="{FF2B5EF4-FFF2-40B4-BE49-F238E27FC236}">
                  <a16:creationId xmlns:a16="http://schemas.microsoft.com/office/drawing/2014/main" id="{6F9886B5-63E1-62E7-8EDB-97E05ED1A0D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22">
              <a:extLst>
                <a:ext uri="{FF2B5EF4-FFF2-40B4-BE49-F238E27FC236}">
                  <a16:creationId xmlns:a16="http://schemas.microsoft.com/office/drawing/2014/main" id="{724C68BE-EEE2-3C15-ECB3-6CD2D23ADB3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23">
              <a:extLst>
                <a:ext uri="{FF2B5EF4-FFF2-40B4-BE49-F238E27FC236}">
                  <a16:creationId xmlns:a16="http://schemas.microsoft.com/office/drawing/2014/main" id="{58F674D2-A04F-60CC-4D12-48BD9BF8EFF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6" name="Freeform 24">
              <a:extLst>
                <a:ext uri="{FF2B5EF4-FFF2-40B4-BE49-F238E27FC236}">
                  <a16:creationId xmlns:a16="http://schemas.microsoft.com/office/drawing/2014/main" id="{F000F07D-66E5-68C4-94AF-1D444365971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25">
              <a:extLst>
                <a:ext uri="{FF2B5EF4-FFF2-40B4-BE49-F238E27FC236}">
                  <a16:creationId xmlns:a16="http://schemas.microsoft.com/office/drawing/2014/main" id="{6C49C3C2-F0C6-4EE9-8EBD-069E69D2994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8" name="Freeform 26">
              <a:extLst>
                <a:ext uri="{FF2B5EF4-FFF2-40B4-BE49-F238E27FC236}">
                  <a16:creationId xmlns:a16="http://schemas.microsoft.com/office/drawing/2014/main" id="{2CF6FC69-94C7-16FE-C1E7-D85FB3DB5EC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9" name="Freeform 27">
              <a:extLst>
                <a:ext uri="{FF2B5EF4-FFF2-40B4-BE49-F238E27FC236}">
                  <a16:creationId xmlns:a16="http://schemas.microsoft.com/office/drawing/2014/main" id="{72972B26-84F9-E3B6-09F0-EABD624D26A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0" name="Freeform 28">
              <a:extLst>
                <a:ext uri="{FF2B5EF4-FFF2-40B4-BE49-F238E27FC236}">
                  <a16:creationId xmlns:a16="http://schemas.microsoft.com/office/drawing/2014/main" id="{6F1B9ADF-DBA3-79A8-41D4-5A3266B6080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1" name="Freeform 29">
              <a:extLst>
                <a:ext uri="{FF2B5EF4-FFF2-40B4-BE49-F238E27FC236}">
                  <a16:creationId xmlns:a16="http://schemas.microsoft.com/office/drawing/2014/main" id="{33C86D5C-E89A-ED3C-A3B3-1A741ED9CD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26127C24-2878-FC2B-6458-4329AF6EE7D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7987" y="1929407"/>
            <a:ext cx="3600451" cy="445234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  <a:endParaRPr lang="en-CA" dirty="0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7B0B68E2-0306-AAD3-A551-FCD33C24D24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295776" y="1929406"/>
            <a:ext cx="3600451" cy="445234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  <a:endParaRPr lang="en-CA" dirty="0"/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571688CB-87B8-0ACA-B66B-E9829225935D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8185855" y="1929406"/>
            <a:ext cx="3600451" cy="445234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  <a:endParaRPr lang="en-CA" dirty="0"/>
          </a:p>
        </p:txBody>
      </p:sp>
      <p:sp>
        <p:nvSpPr>
          <p:cNvPr id="20" name="Textplatzhalter 52">
            <a:extLst>
              <a:ext uri="{FF2B5EF4-FFF2-40B4-BE49-F238E27FC236}">
                <a16:creationId xmlns:a16="http://schemas.microsoft.com/office/drawing/2014/main" id="{7EACA34B-27A8-E7EE-BA52-0EF8629EB5A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987" y="1485415"/>
            <a:ext cx="3600451" cy="246221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cap="none" baseline="0">
                <a:solidFill>
                  <a:schemeClr val="bg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eadline</a:t>
            </a:r>
            <a:endParaRPr lang="en-CA"/>
          </a:p>
        </p:txBody>
      </p:sp>
      <p:sp>
        <p:nvSpPr>
          <p:cNvPr id="21" name="Textplatzhalter 52">
            <a:extLst>
              <a:ext uri="{FF2B5EF4-FFF2-40B4-BE49-F238E27FC236}">
                <a16:creationId xmlns:a16="http://schemas.microsoft.com/office/drawing/2014/main" id="{605C2477-D8DD-BDFB-9B6E-0CE7BEA7CC3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95776" y="1485415"/>
            <a:ext cx="3600451" cy="246221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cap="none" baseline="0">
                <a:solidFill>
                  <a:schemeClr val="bg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eadline</a:t>
            </a:r>
            <a:endParaRPr lang="en-CA"/>
          </a:p>
        </p:txBody>
      </p:sp>
      <p:sp>
        <p:nvSpPr>
          <p:cNvPr id="22" name="Textplatzhalter 52">
            <a:extLst>
              <a:ext uri="{FF2B5EF4-FFF2-40B4-BE49-F238E27FC236}">
                <a16:creationId xmlns:a16="http://schemas.microsoft.com/office/drawing/2014/main" id="{B11EA38F-CC73-4B9F-1E84-5EDEC6B7571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85855" y="1485415"/>
            <a:ext cx="3600451" cy="246221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cap="none" baseline="0">
                <a:solidFill>
                  <a:schemeClr val="bg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eadline</a:t>
            </a:r>
            <a:endParaRPr lang="en-CA"/>
          </a:p>
        </p:txBody>
      </p:sp>
      <p:sp>
        <p:nvSpPr>
          <p:cNvPr id="23" name="Rechteck 44">
            <a:extLst>
              <a:ext uri="{FF2B5EF4-FFF2-40B4-BE49-F238E27FC236}">
                <a16:creationId xmlns:a16="http://schemas.microsoft.com/office/drawing/2014/main" id="{7B8B035F-ECBB-A57F-F080-EDF9A374F2CE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accent6"/>
                </a:solidFill>
              </a:rPr>
              <a:t>Headline: try to keep it short, within ONE line. Do not extend the placeholder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4DB216F5-D59D-0268-FD8C-522BDFAEE41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1926306"/>
            <a:ext cx="4286250" cy="8763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ADC5739A-8A35-F9A4-D68B-1FA78FEF285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290856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4794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s white/blu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F58A9DE4-3AFC-8128-668E-7A6FEA5553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9497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3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8A9DE4-3AFC-8128-668E-7A6FEA5553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hteck 37">
            <a:extLst>
              <a:ext uri="{FF2B5EF4-FFF2-40B4-BE49-F238E27FC236}">
                <a16:creationId xmlns:a16="http://schemas.microsoft.com/office/drawing/2014/main" id="{C58FF99E-B033-1E9A-D9A0-7173F20D6E9C}"/>
              </a:ext>
            </a:extLst>
          </p:cNvPr>
          <p:cNvSpPr/>
          <p:nvPr userDrawn="1"/>
        </p:nvSpPr>
        <p:spPr bwMode="white"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00242F6-C996-49D1-F08C-FC8DF54043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5399999" cy="369332"/>
          </a:xfrm>
        </p:spPr>
        <p:txBody>
          <a:bodyPr vert="horz"/>
          <a:lstStyle/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C3DF3E4-E5A5-6024-A182-C6BB16AEB24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7987" y="1484312"/>
            <a:ext cx="5400000" cy="4897437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F95798D-D3AF-7F77-EA72-568373D7225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84013" y="1484312"/>
            <a:ext cx="5400000" cy="48974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93F9D29-F169-6744-8378-BC67C99130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</a:lstStyle>
          <a:p>
            <a:fld id="{E64BB44E-8903-4313-BBED-09991CD8D6D8}" type="datetime1">
              <a:rPr lang="de-DE" smtClean="0"/>
              <a:t>27.01.25</a:t>
            </a:fld>
            <a:endParaRPr lang="en-CA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EAAC672-B9EF-8B5B-1D3F-963E1075C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35" name="Textplatzhalter 7">
            <a:extLst>
              <a:ext uri="{FF2B5EF4-FFF2-40B4-BE49-F238E27FC236}">
                <a16:creationId xmlns:a16="http://schemas.microsoft.com/office/drawing/2014/main" id="{908F0356-819C-075B-B59E-1B1D915246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8" y="219691"/>
            <a:ext cx="5399999" cy="153888"/>
          </a:xfrm>
        </p:spPr>
        <p:txBody>
          <a:bodyPr wrap="square" anchor="b">
            <a:spAutoFit/>
          </a:bodyPr>
          <a:lstStyle>
            <a:lvl1pPr marL="0" indent="0">
              <a:buNone/>
              <a:defRPr sz="1000" cap="all" baseline="0"/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18D4DFA3-BCD1-EDE9-50BD-608A9C333658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tx2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tx2"/>
              </a:solidFill>
            </a:endParaRPr>
          </a:p>
        </p:txBody>
      </p:sp>
      <p:grpSp>
        <p:nvGrpSpPr>
          <p:cNvPr id="6" name="Gruppieren 14">
            <a:extLst>
              <a:ext uri="{FF2B5EF4-FFF2-40B4-BE49-F238E27FC236}">
                <a16:creationId xmlns:a16="http://schemas.microsoft.com/office/drawing/2014/main" id="{F9BA5284-5EA8-1D2F-70DA-D49FAD913A2B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7CA0558D-F7C6-BE8A-D229-4B51AF72091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6" name="Rectangle 8">
              <a:extLst>
                <a:ext uri="{FF2B5EF4-FFF2-40B4-BE49-F238E27FC236}">
                  <a16:creationId xmlns:a16="http://schemas.microsoft.com/office/drawing/2014/main" id="{D1716B33-B073-4B6B-64CC-A73C6015B65A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Rectangle 9">
              <a:extLst>
                <a:ext uri="{FF2B5EF4-FFF2-40B4-BE49-F238E27FC236}">
                  <a16:creationId xmlns:a16="http://schemas.microsoft.com/office/drawing/2014/main" id="{B438069A-7F7B-4DAC-CD15-CCC27C332BEC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AC41980B-0A57-2FC8-8EC4-AEB64DAE383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1">
              <a:extLst>
                <a:ext uri="{FF2B5EF4-FFF2-40B4-BE49-F238E27FC236}">
                  <a16:creationId xmlns:a16="http://schemas.microsoft.com/office/drawing/2014/main" id="{708168E3-1E88-F88A-4B03-8F03A71F9A6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2" name="Freeform 12">
              <a:extLst>
                <a:ext uri="{FF2B5EF4-FFF2-40B4-BE49-F238E27FC236}">
                  <a16:creationId xmlns:a16="http://schemas.microsoft.com/office/drawing/2014/main" id="{296800DF-3A29-6377-40AE-0628B62527D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3" name="Freeform 13">
              <a:extLst>
                <a:ext uri="{FF2B5EF4-FFF2-40B4-BE49-F238E27FC236}">
                  <a16:creationId xmlns:a16="http://schemas.microsoft.com/office/drawing/2014/main" id="{A43D4361-FD86-C134-84F5-E4943F064B7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4">
              <a:extLst>
                <a:ext uri="{FF2B5EF4-FFF2-40B4-BE49-F238E27FC236}">
                  <a16:creationId xmlns:a16="http://schemas.microsoft.com/office/drawing/2014/main" id="{9C4832E7-4291-3207-717C-F56CE7197CF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5">
              <a:extLst>
                <a:ext uri="{FF2B5EF4-FFF2-40B4-BE49-F238E27FC236}">
                  <a16:creationId xmlns:a16="http://schemas.microsoft.com/office/drawing/2014/main" id="{B6B12DBF-E0C7-EC98-F9A1-C1E47C168C4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16">
              <a:extLst>
                <a:ext uri="{FF2B5EF4-FFF2-40B4-BE49-F238E27FC236}">
                  <a16:creationId xmlns:a16="http://schemas.microsoft.com/office/drawing/2014/main" id="{64F1DDAD-7F17-BC6E-EFB4-24B6397370F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7" name="Freeform 17">
              <a:extLst>
                <a:ext uri="{FF2B5EF4-FFF2-40B4-BE49-F238E27FC236}">
                  <a16:creationId xmlns:a16="http://schemas.microsoft.com/office/drawing/2014/main" id="{077D64B3-0BF3-38A6-32DD-4223F87B00B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18">
              <a:extLst>
                <a:ext uri="{FF2B5EF4-FFF2-40B4-BE49-F238E27FC236}">
                  <a16:creationId xmlns:a16="http://schemas.microsoft.com/office/drawing/2014/main" id="{E477F0F8-EAA9-A9D1-57CD-4987C6D52CA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19">
              <a:extLst>
                <a:ext uri="{FF2B5EF4-FFF2-40B4-BE49-F238E27FC236}">
                  <a16:creationId xmlns:a16="http://schemas.microsoft.com/office/drawing/2014/main" id="{728A8FB3-B67C-A486-BD79-E5405D264D4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20">
              <a:extLst>
                <a:ext uri="{FF2B5EF4-FFF2-40B4-BE49-F238E27FC236}">
                  <a16:creationId xmlns:a16="http://schemas.microsoft.com/office/drawing/2014/main" id="{A2406392-8F8A-915F-FEF3-0BAFA50EDC3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1">
              <a:extLst>
                <a:ext uri="{FF2B5EF4-FFF2-40B4-BE49-F238E27FC236}">
                  <a16:creationId xmlns:a16="http://schemas.microsoft.com/office/drawing/2014/main" id="{1665D786-DD80-BAC3-C9A6-DC0A4FF12B6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2">
              <a:extLst>
                <a:ext uri="{FF2B5EF4-FFF2-40B4-BE49-F238E27FC236}">
                  <a16:creationId xmlns:a16="http://schemas.microsoft.com/office/drawing/2014/main" id="{17BBBCAB-68A5-3435-A7E5-30FA23B2069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23">
              <a:extLst>
                <a:ext uri="{FF2B5EF4-FFF2-40B4-BE49-F238E27FC236}">
                  <a16:creationId xmlns:a16="http://schemas.microsoft.com/office/drawing/2014/main" id="{FD4DF712-8836-4E7A-158E-F8EE4D6C971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24">
              <a:extLst>
                <a:ext uri="{FF2B5EF4-FFF2-40B4-BE49-F238E27FC236}">
                  <a16:creationId xmlns:a16="http://schemas.microsoft.com/office/drawing/2014/main" id="{171B297D-B6FA-8328-F24B-14EB3B689A3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25">
              <a:extLst>
                <a:ext uri="{FF2B5EF4-FFF2-40B4-BE49-F238E27FC236}">
                  <a16:creationId xmlns:a16="http://schemas.microsoft.com/office/drawing/2014/main" id="{06F20CE0-BCCB-240F-E857-C83AE13ACA2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6" name="Freeform 26">
              <a:extLst>
                <a:ext uri="{FF2B5EF4-FFF2-40B4-BE49-F238E27FC236}">
                  <a16:creationId xmlns:a16="http://schemas.microsoft.com/office/drawing/2014/main" id="{74DCCC4B-A621-7D35-1092-D1F6D4E9ED0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27">
              <a:extLst>
                <a:ext uri="{FF2B5EF4-FFF2-40B4-BE49-F238E27FC236}">
                  <a16:creationId xmlns:a16="http://schemas.microsoft.com/office/drawing/2014/main" id="{5F74DD2C-5F9C-965C-DFF5-AA191DC16B7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8" name="Freeform 28">
              <a:extLst>
                <a:ext uri="{FF2B5EF4-FFF2-40B4-BE49-F238E27FC236}">
                  <a16:creationId xmlns:a16="http://schemas.microsoft.com/office/drawing/2014/main" id="{2F5438F7-469A-9728-8B2F-754932E0DFB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9" name="Freeform 29">
              <a:extLst>
                <a:ext uri="{FF2B5EF4-FFF2-40B4-BE49-F238E27FC236}">
                  <a16:creationId xmlns:a16="http://schemas.microsoft.com/office/drawing/2014/main" id="{74593DD3-BF43-1349-435D-BF65BBBE690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12" name="Rechteck 44">
            <a:extLst>
              <a:ext uri="{FF2B5EF4-FFF2-40B4-BE49-F238E27FC236}">
                <a16:creationId xmlns:a16="http://schemas.microsoft.com/office/drawing/2014/main" id="{6F98D7C8-006E-EBC8-C0B4-E64AC157244E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(only on white half)</a:t>
            </a:r>
            <a:r>
              <a:rPr lang="en-GB" sz="1400" dirty="0">
                <a:solidFill>
                  <a:schemeClr val="tx2"/>
                </a:solidFill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D938386-4F89-4FF3-7621-8A5CC33C50D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2326356"/>
            <a:ext cx="4286250" cy="8763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8D1D5F0-8D05-B4B7-C589-D9C6E1FD1E7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330861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6869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blue/whit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F58A9DE4-3AFC-8128-668E-7A6FEA5553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276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3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8A9DE4-3AFC-8128-668E-7A6FEA5553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00242F6-C996-49D1-F08C-FC8DF54043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5400010" cy="369332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F95798D-D3AF-7F77-EA72-568373D7225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07986" y="1484312"/>
            <a:ext cx="5400012" cy="48974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35" name="Textplatzhalter 7">
            <a:extLst>
              <a:ext uri="{FF2B5EF4-FFF2-40B4-BE49-F238E27FC236}">
                <a16:creationId xmlns:a16="http://schemas.microsoft.com/office/drawing/2014/main" id="{908F0356-819C-075B-B59E-1B1D915246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8" y="219691"/>
            <a:ext cx="5400010" cy="153888"/>
          </a:xfrm>
        </p:spPr>
        <p:txBody>
          <a:bodyPr wrap="square" anchor="b">
            <a:spAutoFit/>
          </a:bodyPr>
          <a:lstStyle>
            <a:lvl1pPr marL="0" indent="0">
              <a:buNone/>
              <a:defRPr sz="1000" cap="all" baseline="0">
                <a:solidFill>
                  <a:schemeClr val="accent3"/>
                </a:solidFill>
              </a:defRPr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18D4DFA3-BCD1-EDE9-50BD-608A9C333658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608B994-E8E7-CC4B-F3DA-E7C9AC62CA0B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252000" indent="-252000" algn="l"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CA" sz="1400">
              <a:solidFill>
                <a:schemeClr val="bg1"/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C3DF3E4-E5A5-6024-A182-C6BB16AEB24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384000" y="1484312"/>
            <a:ext cx="5400014" cy="4897437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93F9D29-F169-6744-8378-BC67C99130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buClr>
                <a:schemeClr val="bg1"/>
              </a:buClr>
              <a:defRPr>
                <a:solidFill>
                  <a:schemeClr val="tx2"/>
                </a:solidFill>
              </a:defRPr>
            </a:lvl1pPr>
          </a:lstStyle>
          <a:p>
            <a:fld id="{E64BB44E-8903-4313-BBED-09991CD8D6D8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EAAC672-B9EF-8B5B-1D3F-963E1075C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buClr>
                <a:schemeClr val="bg1"/>
              </a:buClr>
              <a:defRPr>
                <a:solidFill>
                  <a:schemeClr val="tx2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grpSp>
        <p:nvGrpSpPr>
          <p:cNvPr id="8" name="Gruppieren 14">
            <a:extLst>
              <a:ext uri="{FF2B5EF4-FFF2-40B4-BE49-F238E27FC236}">
                <a16:creationId xmlns:a16="http://schemas.microsoft.com/office/drawing/2014/main" id="{D49654F4-E410-A64A-B03E-E4CB55C7F84A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accent1"/>
          </a:solidFill>
        </p:grpSpPr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72BA295B-8D5E-F078-487D-D5784D0615D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Rectangle 8">
              <a:extLst>
                <a:ext uri="{FF2B5EF4-FFF2-40B4-BE49-F238E27FC236}">
                  <a16:creationId xmlns:a16="http://schemas.microsoft.com/office/drawing/2014/main" id="{453B17FB-8D37-9226-46B1-BB48A47D3527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Rectangle 9">
              <a:extLst>
                <a:ext uri="{FF2B5EF4-FFF2-40B4-BE49-F238E27FC236}">
                  <a16:creationId xmlns:a16="http://schemas.microsoft.com/office/drawing/2014/main" id="{8557A2B3-7D11-DF2C-97DB-BDA0A088E9DA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0A2B06EB-BD7F-DBEF-9CED-0860E08B971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1">
              <a:extLst>
                <a:ext uri="{FF2B5EF4-FFF2-40B4-BE49-F238E27FC236}">
                  <a16:creationId xmlns:a16="http://schemas.microsoft.com/office/drawing/2014/main" id="{E2B3E1B0-05B3-B3EE-6BCA-F5911ECC023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2" name="Freeform 12">
              <a:extLst>
                <a:ext uri="{FF2B5EF4-FFF2-40B4-BE49-F238E27FC236}">
                  <a16:creationId xmlns:a16="http://schemas.microsoft.com/office/drawing/2014/main" id="{1F8BFBC1-09A1-8CD2-185F-21AFB667D78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3" name="Freeform 13">
              <a:extLst>
                <a:ext uri="{FF2B5EF4-FFF2-40B4-BE49-F238E27FC236}">
                  <a16:creationId xmlns:a16="http://schemas.microsoft.com/office/drawing/2014/main" id="{10D10360-DB83-D8B8-3CE8-D5A29185005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4">
              <a:extLst>
                <a:ext uri="{FF2B5EF4-FFF2-40B4-BE49-F238E27FC236}">
                  <a16:creationId xmlns:a16="http://schemas.microsoft.com/office/drawing/2014/main" id="{56D4095D-3CCD-7CFB-644B-4DED959574D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5">
              <a:extLst>
                <a:ext uri="{FF2B5EF4-FFF2-40B4-BE49-F238E27FC236}">
                  <a16:creationId xmlns:a16="http://schemas.microsoft.com/office/drawing/2014/main" id="{51545F2D-4124-DFF3-9D53-FE9D06513FA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16">
              <a:extLst>
                <a:ext uri="{FF2B5EF4-FFF2-40B4-BE49-F238E27FC236}">
                  <a16:creationId xmlns:a16="http://schemas.microsoft.com/office/drawing/2014/main" id="{B44B0B63-D547-1390-533D-E75642BD9B6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7" name="Freeform 17">
              <a:extLst>
                <a:ext uri="{FF2B5EF4-FFF2-40B4-BE49-F238E27FC236}">
                  <a16:creationId xmlns:a16="http://schemas.microsoft.com/office/drawing/2014/main" id="{B54E0C9A-732A-2438-F2D3-04940F6E9F4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18">
              <a:extLst>
                <a:ext uri="{FF2B5EF4-FFF2-40B4-BE49-F238E27FC236}">
                  <a16:creationId xmlns:a16="http://schemas.microsoft.com/office/drawing/2014/main" id="{1442E0FA-1320-6E0E-616E-9D3D72ED56D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19">
              <a:extLst>
                <a:ext uri="{FF2B5EF4-FFF2-40B4-BE49-F238E27FC236}">
                  <a16:creationId xmlns:a16="http://schemas.microsoft.com/office/drawing/2014/main" id="{7360FB0B-CBBC-CF0F-7300-92D7A1699B6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20">
              <a:extLst>
                <a:ext uri="{FF2B5EF4-FFF2-40B4-BE49-F238E27FC236}">
                  <a16:creationId xmlns:a16="http://schemas.microsoft.com/office/drawing/2014/main" id="{7B6E57CD-5802-A363-7377-EC1FFE5666B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1">
              <a:extLst>
                <a:ext uri="{FF2B5EF4-FFF2-40B4-BE49-F238E27FC236}">
                  <a16:creationId xmlns:a16="http://schemas.microsoft.com/office/drawing/2014/main" id="{69AA4E1A-9AD8-4E43-110A-165F7921AB2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2">
              <a:extLst>
                <a:ext uri="{FF2B5EF4-FFF2-40B4-BE49-F238E27FC236}">
                  <a16:creationId xmlns:a16="http://schemas.microsoft.com/office/drawing/2014/main" id="{A136447D-827D-90C2-B237-1FDD6CDC31E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23">
              <a:extLst>
                <a:ext uri="{FF2B5EF4-FFF2-40B4-BE49-F238E27FC236}">
                  <a16:creationId xmlns:a16="http://schemas.microsoft.com/office/drawing/2014/main" id="{9B558324-1A77-AFDF-727C-9281A8F2122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24">
              <a:extLst>
                <a:ext uri="{FF2B5EF4-FFF2-40B4-BE49-F238E27FC236}">
                  <a16:creationId xmlns:a16="http://schemas.microsoft.com/office/drawing/2014/main" id="{FB336EE1-85CA-E789-D297-F55947A7F26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25">
              <a:extLst>
                <a:ext uri="{FF2B5EF4-FFF2-40B4-BE49-F238E27FC236}">
                  <a16:creationId xmlns:a16="http://schemas.microsoft.com/office/drawing/2014/main" id="{F68207EB-0DA7-8C72-5071-819912D5E22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6" name="Freeform 26">
              <a:extLst>
                <a:ext uri="{FF2B5EF4-FFF2-40B4-BE49-F238E27FC236}">
                  <a16:creationId xmlns:a16="http://schemas.microsoft.com/office/drawing/2014/main" id="{C1DC6564-7E1B-D87E-854E-87081FCC771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27">
              <a:extLst>
                <a:ext uri="{FF2B5EF4-FFF2-40B4-BE49-F238E27FC236}">
                  <a16:creationId xmlns:a16="http://schemas.microsoft.com/office/drawing/2014/main" id="{0F1776EF-9B3F-41AB-EED1-13DE0013C12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8" name="Freeform 28">
              <a:extLst>
                <a:ext uri="{FF2B5EF4-FFF2-40B4-BE49-F238E27FC236}">
                  <a16:creationId xmlns:a16="http://schemas.microsoft.com/office/drawing/2014/main" id="{3C71A23D-AE97-97F2-AA38-F9A608F7EA2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9" name="Freeform 29">
              <a:extLst>
                <a:ext uri="{FF2B5EF4-FFF2-40B4-BE49-F238E27FC236}">
                  <a16:creationId xmlns:a16="http://schemas.microsoft.com/office/drawing/2014/main" id="{157B814F-CFC2-A39B-1110-351DD9C4EB5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13" name="Rechteck 44">
            <a:extLst>
              <a:ext uri="{FF2B5EF4-FFF2-40B4-BE49-F238E27FC236}">
                <a16:creationId xmlns:a16="http://schemas.microsoft.com/office/drawing/2014/main" id="{792863F5-E3C9-13A7-2F12-BC6467E4679E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(only on white half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 </a:t>
            </a: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15BCCEF-1EAD-D710-543A-CD95FE48053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2326356"/>
            <a:ext cx="4286250" cy="8763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23C0E82-3747-C6DA-C629-2C10DC5DB5E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330861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4880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s blue box vertical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F58A9DE4-3AFC-8128-668E-7A6FEA5553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552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3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8A9DE4-3AFC-8128-668E-7A6FEA5553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7B8F842D-9083-B1BD-7D8C-C56B343C4CDE}"/>
              </a:ext>
            </a:extLst>
          </p:cNvPr>
          <p:cNvSpPr>
            <a:spLocks/>
          </p:cNvSpPr>
          <p:nvPr userDrawn="1"/>
        </p:nvSpPr>
        <p:spPr bwMode="ltGray">
          <a:xfrm>
            <a:off x="1309630" y="0"/>
            <a:ext cx="1088237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CA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00242F6-C996-49D1-F08C-FC8DF54043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99538" y="404813"/>
            <a:ext cx="8859262" cy="369332"/>
          </a:xfrm>
        </p:spPr>
        <p:txBody>
          <a:bodyPr vert="horz"/>
          <a:lstStyle/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C3DF3E4-E5A5-6024-A182-C6BB16AEB24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835776" y="1484312"/>
            <a:ext cx="4948238" cy="4897437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93F9D29-F169-6744-8378-BC67C99130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buClr>
                <a:schemeClr val="bg1"/>
              </a:buClr>
              <a:defRPr>
                <a:solidFill>
                  <a:schemeClr val="tx2"/>
                </a:solidFill>
              </a:defRPr>
            </a:lvl1pPr>
          </a:lstStyle>
          <a:p>
            <a:fld id="{E64BB44E-8903-4313-BBED-09991CD8D6D8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EAAC672-B9EF-8B5B-1D3F-963E1075C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buClr>
                <a:schemeClr val="bg1"/>
              </a:buClr>
              <a:defRPr>
                <a:solidFill>
                  <a:schemeClr val="tx2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35" name="Textplatzhalter 7">
            <a:extLst>
              <a:ext uri="{FF2B5EF4-FFF2-40B4-BE49-F238E27FC236}">
                <a16:creationId xmlns:a16="http://schemas.microsoft.com/office/drawing/2014/main" id="{908F0356-819C-075B-B59E-1B1D915246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99538" y="219691"/>
            <a:ext cx="8859262" cy="153888"/>
          </a:xfrm>
        </p:spPr>
        <p:txBody>
          <a:bodyPr wrap="square" anchor="b">
            <a:spAutoFit/>
          </a:bodyPr>
          <a:lstStyle>
            <a:lvl1pPr marL="0" indent="0">
              <a:buNone/>
              <a:defRPr sz="1000" cap="all" baseline="0"/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18D4DFA3-BCD1-EDE9-50BD-608A9C333658}"/>
              </a:ext>
            </a:extLst>
          </p:cNvPr>
          <p:cNvSpPr txBox="1">
            <a:spLocks/>
          </p:cNvSpPr>
          <p:nvPr userDrawn="1"/>
        </p:nvSpPr>
        <p:spPr>
          <a:xfrm>
            <a:off x="1599538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tx2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tx2"/>
              </a:solidFill>
            </a:endParaRPr>
          </a:p>
        </p:txBody>
      </p:sp>
      <p:sp>
        <p:nvSpPr>
          <p:cNvPr id="36" name="Inhaltsplatzhalter 2">
            <a:extLst>
              <a:ext uri="{FF2B5EF4-FFF2-40B4-BE49-F238E27FC236}">
                <a16:creationId xmlns:a16="http://schemas.microsoft.com/office/drawing/2014/main" id="{0235054D-83A6-1FBB-DACA-A0211D645C86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1599538" y="1484312"/>
            <a:ext cx="4948238" cy="4897437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grpSp>
        <p:nvGrpSpPr>
          <p:cNvPr id="6" name="Gruppieren 14">
            <a:extLst>
              <a:ext uri="{FF2B5EF4-FFF2-40B4-BE49-F238E27FC236}">
                <a16:creationId xmlns:a16="http://schemas.microsoft.com/office/drawing/2014/main" id="{FDCE383B-B4CB-D8AA-5C55-D327BB57525A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accent1"/>
          </a:solidFill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1708CD1-5A76-E2DB-806E-0BAD37B53A6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E804009-0C96-7E23-3EFA-A798C3A242F6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BBAAD31-2C49-D204-0DE2-6934CEE5E097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662F645B-E904-D21B-327C-985D7AED364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8561A794-66AC-EFDE-4A7F-17CFB93B065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95CC678F-27F6-7AE0-8847-BA3D6BD54A8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ACF7ECAA-200A-A95E-EB52-147B9E48770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4489C938-8BA4-3B07-5367-EE0552D6C30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3212BFEA-B83D-CE02-8141-41BBCB3C7FE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2A5D9973-799E-3144-7CA9-06D643FF644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3A2E963B-62F9-A78F-756B-9DE1DCEC3DB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2A0A86D6-9908-EAB3-BF97-BDF51BCC445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22A1CAB6-4449-1418-7391-A03737305A4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E0417F03-5C24-A23E-2465-4FA6299C57A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6E636C30-2752-3571-DA71-B0674682A85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D2F58AFD-B196-E7E8-1CAD-56732E7CE0A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7AB30FB4-4AD5-2923-0E51-ECCE53A2F33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43C54911-B0A4-0978-65D9-BCF7927CCE9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6DAD8C20-1D2C-46EA-E924-E176B21E5D6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13C09416-1474-540C-D335-18198A1B729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CA9D8461-872B-97D8-1926-05C916E2082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10036A20-41CF-1407-D4BE-A954ED74E51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09F7526-61EF-7A8C-5F7D-23E3A866CE6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38" name="Rechteck 44">
            <a:extLst>
              <a:ext uri="{FF2B5EF4-FFF2-40B4-BE49-F238E27FC236}">
                <a16:creationId xmlns:a16="http://schemas.microsoft.com/office/drawing/2014/main" id="{75847C30-B133-DD34-6BD5-3F230660BCA1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800B2A9C-AA8D-0737-49C8-A6B1FB6657E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2326356"/>
            <a:ext cx="4286250" cy="876300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560CFA5C-4C88-D7B1-7185-6A9F1FB8099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330861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9261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s blue box horizontal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47DFBB81-771E-6CD4-1CB8-5F863F1B2E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9863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DFBB81-771E-6CD4-1CB8-5F863F1B2E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C9783439-F52C-AE18-FE39-E1543F8B946C}"/>
              </a:ext>
            </a:extLst>
          </p:cNvPr>
          <p:cNvSpPr/>
          <p:nvPr userDrawn="1"/>
        </p:nvSpPr>
        <p:spPr>
          <a:xfrm>
            <a:off x="0" y="1196975"/>
            <a:ext cx="12192000" cy="5661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252000" indent="-252000" algn="l"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de-DE" sz="1400">
              <a:solidFill>
                <a:schemeClr val="bg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00242F6-C996-49D1-F08C-FC8DF54043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C3DF3E4-E5A5-6024-A182-C6BB16AEB24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7987" y="1484312"/>
            <a:ext cx="5543551" cy="4897437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F95798D-D3AF-7F77-EA72-568373D7225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40464" y="1484312"/>
            <a:ext cx="5543550" cy="4897437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93F9D29-F169-6744-8378-BC67C99130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196C7-E992-43AB-8F76-578993D9CEAE}" type="datetime1">
              <a:rPr lang="de-DE" smtClean="0"/>
              <a:t>27.01.25</a:t>
            </a:fld>
            <a:endParaRPr lang="en-CA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EAAC672-B9EF-8B5B-1D3F-963E1075C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F94F17A-32D5-C51C-5C2B-3503D5CE4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>
                <a:solidFill>
                  <a:schemeClr val="accent3"/>
                </a:solidFill>
              </a:defRPr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15FADC2A-0248-BC04-C899-8C8D2B2FDDC6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tx2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tx2"/>
              </a:solidFill>
            </a:endParaRPr>
          </a:p>
        </p:txBody>
      </p:sp>
      <p:grpSp>
        <p:nvGrpSpPr>
          <p:cNvPr id="6" name="Gruppieren 14">
            <a:extLst>
              <a:ext uri="{FF2B5EF4-FFF2-40B4-BE49-F238E27FC236}">
                <a16:creationId xmlns:a16="http://schemas.microsoft.com/office/drawing/2014/main" id="{77B321C3-9BD6-DFE7-1CF9-1B40C58CB75B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D701A74C-0BC0-A9C3-CAB1-7757415B9C3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Rectangle 8">
              <a:extLst>
                <a:ext uri="{FF2B5EF4-FFF2-40B4-BE49-F238E27FC236}">
                  <a16:creationId xmlns:a16="http://schemas.microsoft.com/office/drawing/2014/main" id="{79B88625-616B-52F8-0788-1697C72D19A7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Rectangle 9">
              <a:extLst>
                <a:ext uri="{FF2B5EF4-FFF2-40B4-BE49-F238E27FC236}">
                  <a16:creationId xmlns:a16="http://schemas.microsoft.com/office/drawing/2014/main" id="{BEC4A765-B41D-4677-65B0-9CC4AEF68D16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9A627078-E318-D566-E882-7676B67D887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14E39FC5-9364-4851-4440-84A1A2A7F4D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FF37A86C-5679-D69F-3DE4-DFD29DA40C6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8C00B8A9-128D-57B7-787A-D3E2DBCF0F0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EA9E68ED-6D10-7DDC-131C-56BE0998174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5">
              <a:extLst>
                <a:ext uri="{FF2B5EF4-FFF2-40B4-BE49-F238E27FC236}">
                  <a16:creationId xmlns:a16="http://schemas.microsoft.com/office/drawing/2014/main" id="{3761A6B5-94E8-8DCF-26B5-3EEA85DD44C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6">
              <a:extLst>
                <a:ext uri="{FF2B5EF4-FFF2-40B4-BE49-F238E27FC236}">
                  <a16:creationId xmlns:a16="http://schemas.microsoft.com/office/drawing/2014/main" id="{C5BD8C65-CC2A-B31B-EB65-C36C9704A8D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17">
              <a:extLst>
                <a:ext uri="{FF2B5EF4-FFF2-40B4-BE49-F238E27FC236}">
                  <a16:creationId xmlns:a16="http://schemas.microsoft.com/office/drawing/2014/main" id="{ABA33F1F-67C7-3053-F65E-802FF804019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7" name="Freeform 18">
              <a:extLst>
                <a:ext uri="{FF2B5EF4-FFF2-40B4-BE49-F238E27FC236}">
                  <a16:creationId xmlns:a16="http://schemas.microsoft.com/office/drawing/2014/main" id="{64291D3E-DB43-5F66-9E25-9F5E09FB5EA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19">
              <a:extLst>
                <a:ext uri="{FF2B5EF4-FFF2-40B4-BE49-F238E27FC236}">
                  <a16:creationId xmlns:a16="http://schemas.microsoft.com/office/drawing/2014/main" id="{6CD66ACA-0EE3-802A-91CC-51FDCCA1083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20">
              <a:extLst>
                <a:ext uri="{FF2B5EF4-FFF2-40B4-BE49-F238E27FC236}">
                  <a16:creationId xmlns:a16="http://schemas.microsoft.com/office/drawing/2014/main" id="{83C8DABB-E795-7CFB-656C-63021F346BE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21">
              <a:extLst>
                <a:ext uri="{FF2B5EF4-FFF2-40B4-BE49-F238E27FC236}">
                  <a16:creationId xmlns:a16="http://schemas.microsoft.com/office/drawing/2014/main" id="{4F92A343-7B58-F07F-4899-47FA54EC0FE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2">
              <a:extLst>
                <a:ext uri="{FF2B5EF4-FFF2-40B4-BE49-F238E27FC236}">
                  <a16:creationId xmlns:a16="http://schemas.microsoft.com/office/drawing/2014/main" id="{8525A0CC-AE00-93D9-CBFE-8613965485F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3">
              <a:extLst>
                <a:ext uri="{FF2B5EF4-FFF2-40B4-BE49-F238E27FC236}">
                  <a16:creationId xmlns:a16="http://schemas.microsoft.com/office/drawing/2014/main" id="{2455F48E-CB54-B038-E8B7-6FD611A3C23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24">
              <a:extLst>
                <a:ext uri="{FF2B5EF4-FFF2-40B4-BE49-F238E27FC236}">
                  <a16:creationId xmlns:a16="http://schemas.microsoft.com/office/drawing/2014/main" id="{82E26569-2724-4E28-4A34-F90ABADEE54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25">
              <a:extLst>
                <a:ext uri="{FF2B5EF4-FFF2-40B4-BE49-F238E27FC236}">
                  <a16:creationId xmlns:a16="http://schemas.microsoft.com/office/drawing/2014/main" id="{C59C723D-2F3C-2BD9-9CEB-5DB197F041A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26">
              <a:extLst>
                <a:ext uri="{FF2B5EF4-FFF2-40B4-BE49-F238E27FC236}">
                  <a16:creationId xmlns:a16="http://schemas.microsoft.com/office/drawing/2014/main" id="{9B6135F3-11EB-417D-4A67-1329143E191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6" name="Freeform 27">
              <a:extLst>
                <a:ext uri="{FF2B5EF4-FFF2-40B4-BE49-F238E27FC236}">
                  <a16:creationId xmlns:a16="http://schemas.microsoft.com/office/drawing/2014/main" id="{29C875C6-BAC2-F2EF-9167-B8A227DB7CB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28">
              <a:extLst>
                <a:ext uri="{FF2B5EF4-FFF2-40B4-BE49-F238E27FC236}">
                  <a16:creationId xmlns:a16="http://schemas.microsoft.com/office/drawing/2014/main" id="{F0E24565-5F70-75B6-1EA3-E5CF0990A7A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8" name="Freeform 29">
              <a:extLst>
                <a:ext uri="{FF2B5EF4-FFF2-40B4-BE49-F238E27FC236}">
                  <a16:creationId xmlns:a16="http://schemas.microsoft.com/office/drawing/2014/main" id="{3DA0BF09-69B9-AAA5-EE6C-B845D8C2C30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15" name="Rechteck 44">
            <a:extLst>
              <a:ext uri="{FF2B5EF4-FFF2-40B4-BE49-F238E27FC236}">
                <a16:creationId xmlns:a16="http://schemas.microsoft.com/office/drawing/2014/main" id="{E709D86F-EA8E-17A4-1E6B-0A32BC7BCF5B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AD59FBF-0370-A6E4-404B-1F45911E147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2326356"/>
            <a:ext cx="4286250" cy="8763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2AD148D-3B81-85D2-7C33-439C8B8034D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330861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3048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51BCB99-1D41-30A9-A5D8-E6FE65CF9E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6605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1BCB99-1D41-30A9-A5D8-E6FE65CF9E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3D6F78B-BEEC-1FB7-2E69-FE49143D21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A40536B-1835-EBC4-9FE6-D7BE052AA9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43108A-4CEC-450F-9F79-7958F0401B7E}" type="datetime1">
              <a:rPr lang="de-DE" smtClean="0"/>
              <a:t>27.01.25</a:t>
            </a:fld>
            <a:endParaRPr lang="en-CA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F1CF425-A9D3-7D88-070F-44D48BB89F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82CECA90-2BF7-8A85-C603-5D505B93B660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7987" y="4891314"/>
            <a:ext cx="3600451" cy="1490435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A370026F-7DED-2D84-8EA8-5C16F470CA1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295775" y="4891314"/>
            <a:ext cx="3600449" cy="1490435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7FACBBCF-213E-7C50-9000-454C3E748B57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183563" y="4891314"/>
            <a:ext cx="3600447" cy="1490435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34023C7A-8E4B-FCFC-5284-21D503F9059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/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8" name="Textplatzhalter 52">
            <a:extLst>
              <a:ext uri="{FF2B5EF4-FFF2-40B4-BE49-F238E27FC236}">
                <a16:creationId xmlns:a16="http://schemas.microsoft.com/office/drawing/2014/main" id="{F3F8D6D2-0834-19D5-57E4-AEFF09C7D86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7987" y="1484312"/>
            <a:ext cx="3600453" cy="432000"/>
          </a:xfrm>
          <a:prstGeom prst="roundRect">
            <a:avLst>
              <a:gd name="adj" fmla="val 50000"/>
            </a:avLst>
          </a:prstGeom>
          <a:ln>
            <a:solidFill>
              <a:schemeClr val="accent1"/>
            </a:solidFill>
          </a:ln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1600" cap="none" baseline="0">
                <a:solidFill>
                  <a:schemeClr val="accent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eadline</a:t>
            </a:r>
            <a:endParaRPr lang="en-CA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3D1A143C-ECA9-2E5A-7B7F-5017BAEBBBE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07985" y="2203647"/>
            <a:ext cx="3600453" cy="2400334"/>
          </a:xfrm>
          <a:custGeom>
            <a:avLst/>
            <a:gdLst>
              <a:gd name="connsiteX0" fmla="*/ 219579 w 3600453"/>
              <a:gd name="connsiteY0" fmla="*/ 0 h 2496065"/>
              <a:gd name="connsiteX1" fmla="*/ 316022 w 3600453"/>
              <a:gd name="connsiteY1" fmla="*/ 0 h 2496065"/>
              <a:gd name="connsiteX2" fmla="*/ 1030236 w 3600453"/>
              <a:gd name="connsiteY2" fmla="*/ 0 h 2496065"/>
              <a:gd name="connsiteX3" fmla="*/ 1126679 w 3600453"/>
              <a:gd name="connsiteY3" fmla="*/ 0 h 2496065"/>
              <a:gd name="connsiteX4" fmla="*/ 2473774 w 3600453"/>
              <a:gd name="connsiteY4" fmla="*/ 0 h 2496065"/>
              <a:gd name="connsiteX5" fmla="*/ 2570217 w 3600453"/>
              <a:gd name="connsiteY5" fmla="*/ 0 h 2496065"/>
              <a:gd name="connsiteX6" fmla="*/ 3284431 w 3600453"/>
              <a:gd name="connsiteY6" fmla="*/ 0 h 2496065"/>
              <a:gd name="connsiteX7" fmla="*/ 3380874 w 3600453"/>
              <a:gd name="connsiteY7" fmla="*/ 0 h 2496065"/>
              <a:gd name="connsiteX8" fmla="*/ 3600453 w 3600453"/>
              <a:gd name="connsiteY8" fmla="*/ 219579 h 2496065"/>
              <a:gd name="connsiteX9" fmla="*/ 3600453 w 3600453"/>
              <a:gd name="connsiteY9" fmla="*/ 2276486 h 2496065"/>
              <a:gd name="connsiteX10" fmla="*/ 3380874 w 3600453"/>
              <a:gd name="connsiteY10" fmla="*/ 2496065 h 2496065"/>
              <a:gd name="connsiteX11" fmla="*/ 3284431 w 3600453"/>
              <a:gd name="connsiteY11" fmla="*/ 2496065 h 2496065"/>
              <a:gd name="connsiteX12" fmla="*/ 2570217 w 3600453"/>
              <a:gd name="connsiteY12" fmla="*/ 2496065 h 2496065"/>
              <a:gd name="connsiteX13" fmla="*/ 2473774 w 3600453"/>
              <a:gd name="connsiteY13" fmla="*/ 2496065 h 2496065"/>
              <a:gd name="connsiteX14" fmla="*/ 1126679 w 3600453"/>
              <a:gd name="connsiteY14" fmla="*/ 2496065 h 2496065"/>
              <a:gd name="connsiteX15" fmla="*/ 1030236 w 3600453"/>
              <a:gd name="connsiteY15" fmla="*/ 2496065 h 2496065"/>
              <a:gd name="connsiteX16" fmla="*/ 316022 w 3600453"/>
              <a:gd name="connsiteY16" fmla="*/ 2496065 h 2496065"/>
              <a:gd name="connsiteX17" fmla="*/ 219579 w 3600453"/>
              <a:gd name="connsiteY17" fmla="*/ 2496065 h 2496065"/>
              <a:gd name="connsiteX18" fmla="*/ 0 w 3600453"/>
              <a:gd name="connsiteY18" fmla="*/ 2276486 h 2496065"/>
              <a:gd name="connsiteX19" fmla="*/ 0 w 3600453"/>
              <a:gd name="connsiteY19" fmla="*/ 219579 h 2496065"/>
              <a:gd name="connsiteX20" fmla="*/ 219579 w 3600453"/>
              <a:gd name="connsiteY20" fmla="*/ 0 h 2496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600453" h="2496065">
                <a:moveTo>
                  <a:pt x="219579" y="0"/>
                </a:moveTo>
                <a:lnTo>
                  <a:pt x="316022" y="0"/>
                </a:lnTo>
                <a:lnTo>
                  <a:pt x="1030236" y="0"/>
                </a:lnTo>
                <a:lnTo>
                  <a:pt x="1126679" y="0"/>
                </a:lnTo>
                <a:lnTo>
                  <a:pt x="2473774" y="0"/>
                </a:lnTo>
                <a:lnTo>
                  <a:pt x="2570217" y="0"/>
                </a:lnTo>
                <a:lnTo>
                  <a:pt x="3284431" y="0"/>
                </a:lnTo>
                <a:lnTo>
                  <a:pt x="3380874" y="0"/>
                </a:lnTo>
                <a:cubicBezTo>
                  <a:pt x="3502144" y="0"/>
                  <a:pt x="3600453" y="98309"/>
                  <a:pt x="3600453" y="219579"/>
                </a:cubicBezTo>
                <a:lnTo>
                  <a:pt x="3600453" y="2276486"/>
                </a:lnTo>
                <a:cubicBezTo>
                  <a:pt x="3600453" y="2397757"/>
                  <a:pt x="3502144" y="2496065"/>
                  <a:pt x="3380874" y="2496065"/>
                </a:cubicBezTo>
                <a:lnTo>
                  <a:pt x="3284431" y="2496065"/>
                </a:lnTo>
                <a:lnTo>
                  <a:pt x="2570217" y="2496065"/>
                </a:lnTo>
                <a:lnTo>
                  <a:pt x="2473774" y="2496065"/>
                </a:lnTo>
                <a:lnTo>
                  <a:pt x="1126679" y="2496065"/>
                </a:lnTo>
                <a:lnTo>
                  <a:pt x="1030236" y="2496065"/>
                </a:lnTo>
                <a:lnTo>
                  <a:pt x="316022" y="2496065"/>
                </a:lnTo>
                <a:lnTo>
                  <a:pt x="219579" y="2496065"/>
                </a:lnTo>
                <a:cubicBezTo>
                  <a:pt x="98309" y="2496065"/>
                  <a:pt x="0" y="2397757"/>
                  <a:pt x="0" y="2276486"/>
                </a:cubicBezTo>
                <a:lnTo>
                  <a:pt x="0" y="219579"/>
                </a:lnTo>
                <a:cubicBezTo>
                  <a:pt x="0" y="98309"/>
                  <a:pt x="98309" y="0"/>
                  <a:pt x="21957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CA"/>
          </a:p>
        </p:txBody>
      </p:sp>
      <p:sp>
        <p:nvSpPr>
          <p:cNvPr id="24" name="Textplatzhalter 52">
            <a:extLst>
              <a:ext uri="{FF2B5EF4-FFF2-40B4-BE49-F238E27FC236}">
                <a16:creationId xmlns:a16="http://schemas.microsoft.com/office/drawing/2014/main" id="{EED001E8-B423-58CD-5037-02D950D18B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95771" y="1484312"/>
            <a:ext cx="3600453" cy="432000"/>
          </a:xfrm>
          <a:prstGeom prst="roundRect">
            <a:avLst>
              <a:gd name="adj" fmla="val 50000"/>
            </a:avLst>
          </a:prstGeom>
          <a:ln>
            <a:solidFill>
              <a:schemeClr val="accent1"/>
            </a:solidFill>
          </a:ln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1600" cap="none" baseline="0">
                <a:solidFill>
                  <a:schemeClr val="accent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eadline</a:t>
            </a:r>
            <a:endParaRPr lang="en-CA"/>
          </a:p>
        </p:txBody>
      </p:sp>
      <p:sp>
        <p:nvSpPr>
          <p:cNvPr id="26" name="Textplatzhalter 52">
            <a:extLst>
              <a:ext uri="{FF2B5EF4-FFF2-40B4-BE49-F238E27FC236}">
                <a16:creationId xmlns:a16="http://schemas.microsoft.com/office/drawing/2014/main" id="{8D222BAA-0ABD-6C65-7ED9-7F0B2E524D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83563" y="1484312"/>
            <a:ext cx="3600453" cy="432000"/>
          </a:xfrm>
          <a:prstGeom prst="roundRect">
            <a:avLst>
              <a:gd name="adj" fmla="val 50000"/>
            </a:avLst>
          </a:prstGeom>
          <a:ln>
            <a:solidFill>
              <a:schemeClr val="accent1"/>
            </a:solidFill>
          </a:ln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1600" cap="none" baseline="0">
                <a:solidFill>
                  <a:schemeClr val="accent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eadline</a:t>
            </a:r>
            <a:endParaRPr lang="en-CA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BDF3AAB4-A998-053F-511B-9D538D906AA1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295771" y="2203647"/>
            <a:ext cx="3600453" cy="2400334"/>
          </a:xfrm>
          <a:custGeom>
            <a:avLst/>
            <a:gdLst>
              <a:gd name="connsiteX0" fmla="*/ 219579 w 3600453"/>
              <a:gd name="connsiteY0" fmla="*/ 0 h 2496065"/>
              <a:gd name="connsiteX1" fmla="*/ 316022 w 3600453"/>
              <a:gd name="connsiteY1" fmla="*/ 0 h 2496065"/>
              <a:gd name="connsiteX2" fmla="*/ 1030236 w 3600453"/>
              <a:gd name="connsiteY2" fmla="*/ 0 h 2496065"/>
              <a:gd name="connsiteX3" fmla="*/ 1126679 w 3600453"/>
              <a:gd name="connsiteY3" fmla="*/ 0 h 2496065"/>
              <a:gd name="connsiteX4" fmla="*/ 2473774 w 3600453"/>
              <a:gd name="connsiteY4" fmla="*/ 0 h 2496065"/>
              <a:gd name="connsiteX5" fmla="*/ 2570217 w 3600453"/>
              <a:gd name="connsiteY5" fmla="*/ 0 h 2496065"/>
              <a:gd name="connsiteX6" fmla="*/ 3284431 w 3600453"/>
              <a:gd name="connsiteY6" fmla="*/ 0 h 2496065"/>
              <a:gd name="connsiteX7" fmla="*/ 3380874 w 3600453"/>
              <a:gd name="connsiteY7" fmla="*/ 0 h 2496065"/>
              <a:gd name="connsiteX8" fmla="*/ 3600453 w 3600453"/>
              <a:gd name="connsiteY8" fmla="*/ 219579 h 2496065"/>
              <a:gd name="connsiteX9" fmla="*/ 3600453 w 3600453"/>
              <a:gd name="connsiteY9" fmla="*/ 2276486 h 2496065"/>
              <a:gd name="connsiteX10" fmla="*/ 3380874 w 3600453"/>
              <a:gd name="connsiteY10" fmla="*/ 2496065 h 2496065"/>
              <a:gd name="connsiteX11" fmla="*/ 3284431 w 3600453"/>
              <a:gd name="connsiteY11" fmla="*/ 2496065 h 2496065"/>
              <a:gd name="connsiteX12" fmla="*/ 2570217 w 3600453"/>
              <a:gd name="connsiteY12" fmla="*/ 2496065 h 2496065"/>
              <a:gd name="connsiteX13" fmla="*/ 2473774 w 3600453"/>
              <a:gd name="connsiteY13" fmla="*/ 2496065 h 2496065"/>
              <a:gd name="connsiteX14" fmla="*/ 1126679 w 3600453"/>
              <a:gd name="connsiteY14" fmla="*/ 2496065 h 2496065"/>
              <a:gd name="connsiteX15" fmla="*/ 1030236 w 3600453"/>
              <a:gd name="connsiteY15" fmla="*/ 2496065 h 2496065"/>
              <a:gd name="connsiteX16" fmla="*/ 316022 w 3600453"/>
              <a:gd name="connsiteY16" fmla="*/ 2496065 h 2496065"/>
              <a:gd name="connsiteX17" fmla="*/ 219579 w 3600453"/>
              <a:gd name="connsiteY17" fmla="*/ 2496065 h 2496065"/>
              <a:gd name="connsiteX18" fmla="*/ 0 w 3600453"/>
              <a:gd name="connsiteY18" fmla="*/ 2276486 h 2496065"/>
              <a:gd name="connsiteX19" fmla="*/ 0 w 3600453"/>
              <a:gd name="connsiteY19" fmla="*/ 219579 h 2496065"/>
              <a:gd name="connsiteX20" fmla="*/ 219579 w 3600453"/>
              <a:gd name="connsiteY20" fmla="*/ 0 h 2496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600453" h="2496065">
                <a:moveTo>
                  <a:pt x="219579" y="0"/>
                </a:moveTo>
                <a:lnTo>
                  <a:pt x="316022" y="0"/>
                </a:lnTo>
                <a:lnTo>
                  <a:pt x="1030236" y="0"/>
                </a:lnTo>
                <a:lnTo>
                  <a:pt x="1126679" y="0"/>
                </a:lnTo>
                <a:lnTo>
                  <a:pt x="2473774" y="0"/>
                </a:lnTo>
                <a:lnTo>
                  <a:pt x="2570217" y="0"/>
                </a:lnTo>
                <a:lnTo>
                  <a:pt x="3284431" y="0"/>
                </a:lnTo>
                <a:lnTo>
                  <a:pt x="3380874" y="0"/>
                </a:lnTo>
                <a:cubicBezTo>
                  <a:pt x="3502144" y="0"/>
                  <a:pt x="3600453" y="98309"/>
                  <a:pt x="3600453" y="219579"/>
                </a:cubicBezTo>
                <a:lnTo>
                  <a:pt x="3600453" y="2276486"/>
                </a:lnTo>
                <a:cubicBezTo>
                  <a:pt x="3600453" y="2397757"/>
                  <a:pt x="3502144" y="2496065"/>
                  <a:pt x="3380874" y="2496065"/>
                </a:cubicBezTo>
                <a:lnTo>
                  <a:pt x="3284431" y="2496065"/>
                </a:lnTo>
                <a:lnTo>
                  <a:pt x="2570217" y="2496065"/>
                </a:lnTo>
                <a:lnTo>
                  <a:pt x="2473774" y="2496065"/>
                </a:lnTo>
                <a:lnTo>
                  <a:pt x="1126679" y="2496065"/>
                </a:lnTo>
                <a:lnTo>
                  <a:pt x="1030236" y="2496065"/>
                </a:lnTo>
                <a:lnTo>
                  <a:pt x="316022" y="2496065"/>
                </a:lnTo>
                <a:lnTo>
                  <a:pt x="219579" y="2496065"/>
                </a:lnTo>
                <a:cubicBezTo>
                  <a:pt x="98309" y="2496065"/>
                  <a:pt x="0" y="2397757"/>
                  <a:pt x="0" y="2276486"/>
                </a:cubicBezTo>
                <a:lnTo>
                  <a:pt x="0" y="219579"/>
                </a:lnTo>
                <a:cubicBezTo>
                  <a:pt x="0" y="98309"/>
                  <a:pt x="98309" y="0"/>
                  <a:pt x="21957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CA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A7DBC71C-581E-1931-849E-FFAC51337EB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183563" y="2203647"/>
            <a:ext cx="3600453" cy="2400334"/>
          </a:xfrm>
          <a:custGeom>
            <a:avLst/>
            <a:gdLst>
              <a:gd name="connsiteX0" fmla="*/ 219579 w 3600453"/>
              <a:gd name="connsiteY0" fmla="*/ 0 h 2496065"/>
              <a:gd name="connsiteX1" fmla="*/ 316022 w 3600453"/>
              <a:gd name="connsiteY1" fmla="*/ 0 h 2496065"/>
              <a:gd name="connsiteX2" fmla="*/ 1030236 w 3600453"/>
              <a:gd name="connsiteY2" fmla="*/ 0 h 2496065"/>
              <a:gd name="connsiteX3" fmla="*/ 1126679 w 3600453"/>
              <a:gd name="connsiteY3" fmla="*/ 0 h 2496065"/>
              <a:gd name="connsiteX4" fmla="*/ 2473774 w 3600453"/>
              <a:gd name="connsiteY4" fmla="*/ 0 h 2496065"/>
              <a:gd name="connsiteX5" fmla="*/ 2570217 w 3600453"/>
              <a:gd name="connsiteY5" fmla="*/ 0 h 2496065"/>
              <a:gd name="connsiteX6" fmla="*/ 3284431 w 3600453"/>
              <a:gd name="connsiteY6" fmla="*/ 0 h 2496065"/>
              <a:gd name="connsiteX7" fmla="*/ 3380874 w 3600453"/>
              <a:gd name="connsiteY7" fmla="*/ 0 h 2496065"/>
              <a:gd name="connsiteX8" fmla="*/ 3600453 w 3600453"/>
              <a:gd name="connsiteY8" fmla="*/ 219579 h 2496065"/>
              <a:gd name="connsiteX9" fmla="*/ 3600453 w 3600453"/>
              <a:gd name="connsiteY9" fmla="*/ 2276486 h 2496065"/>
              <a:gd name="connsiteX10" fmla="*/ 3380874 w 3600453"/>
              <a:gd name="connsiteY10" fmla="*/ 2496065 h 2496065"/>
              <a:gd name="connsiteX11" fmla="*/ 3284431 w 3600453"/>
              <a:gd name="connsiteY11" fmla="*/ 2496065 h 2496065"/>
              <a:gd name="connsiteX12" fmla="*/ 2570217 w 3600453"/>
              <a:gd name="connsiteY12" fmla="*/ 2496065 h 2496065"/>
              <a:gd name="connsiteX13" fmla="*/ 2473774 w 3600453"/>
              <a:gd name="connsiteY13" fmla="*/ 2496065 h 2496065"/>
              <a:gd name="connsiteX14" fmla="*/ 1126679 w 3600453"/>
              <a:gd name="connsiteY14" fmla="*/ 2496065 h 2496065"/>
              <a:gd name="connsiteX15" fmla="*/ 1030236 w 3600453"/>
              <a:gd name="connsiteY15" fmla="*/ 2496065 h 2496065"/>
              <a:gd name="connsiteX16" fmla="*/ 316022 w 3600453"/>
              <a:gd name="connsiteY16" fmla="*/ 2496065 h 2496065"/>
              <a:gd name="connsiteX17" fmla="*/ 219579 w 3600453"/>
              <a:gd name="connsiteY17" fmla="*/ 2496065 h 2496065"/>
              <a:gd name="connsiteX18" fmla="*/ 0 w 3600453"/>
              <a:gd name="connsiteY18" fmla="*/ 2276486 h 2496065"/>
              <a:gd name="connsiteX19" fmla="*/ 0 w 3600453"/>
              <a:gd name="connsiteY19" fmla="*/ 219579 h 2496065"/>
              <a:gd name="connsiteX20" fmla="*/ 219579 w 3600453"/>
              <a:gd name="connsiteY20" fmla="*/ 0 h 2496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600453" h="2496065">
                <a:moveTo>
                  <a:pt x="219579" y="0"/>
                </a:moveTo>
                <a:lnTo>
                  <a:pt x="316022" y="0"/>
                </a:lnTo>
                <a:lnTo>
                  <a:pt x="1030236" y="0"/>
                </a:lnTo>
                <a:lnTo>
                  <a:pt x="1126679" y="0"/>
                </a:lnTo>
                <a:lnTo>
                  <a:pt x="2473774" y="0"/>
                </a:lnTo>
                <a:lnTo>
                  <a:pt x="2570217" y="0"/>
                </a:lnTo>
                <a:lnTo>
                  <a:pt x="3284431" y="0"/>
                </a:lnTo>
                <a:lnTo>
                  <a:pt x="3380874" y="0"/>
                </a:lnTo>
                <a:cubicBezTo>
                  <a:pt x="3502144" y="0"/>
                  <a:pt x="3600453" y="98309"/>
                  <a:pt x="3600453" y="219579"/>
                </a:cubicBezTo>
                <a:lnTo>
                  <a:pt x="3600453" y="2276486"/>
                </a:lnTo>
                <a:cubicBezTo>
                  <a:pt x="3600453" y="2397757"/>
                  <a:pt x="3502144" y="2496065"/>
                  <a:pt x="3380874" y="2496065"/>
                </a:cubicBezTo>
                <a:lnTo>
                  <a:pt x="3284431" y="2496065"/>
                </a:lnTo>
                <a:lnTo>
                  <a:pt x="2570217" y="2496065"/>
                </a:lnTo>
                <a:lnTo>
                  <a:pt x="2473774" y="2496065"/>
                </a:lnTo>
                <a:lnTo>
                  <a:pt x="1126679" y="2496065"/>
                </a:lnTo>
                <a:lnTo>
                  <a:pt x="1030236" y="2496065"/>
                </a:lnTo>
                <a:lnTo>
                  <a:pt x="316022" y="2496065"/>
                </a:lnTo>
                <a:lnTo>
                  <a:pt x="219579" y="2496065"/>
                </a:lnTo>
                <a:cubicBezTo>
                  <a:pt x="98309" y="2496065"/>
                  <a:pt x="0" y="2397757"/>
                  <a:pt x="0" y="2276486"/>
                </a:cubicBezTo>
                <a:lnTo>
                  <a:pt x="0" y="219579"/>
                </a:lnTo>
                <a:cubicBezTo>
                  <a:pt x="0" y="98309"/>
                  <a:pt x="98309" y="0"/>
                  <a:pt x="21957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CA"/>
          </a:p>
        </p:txBody>
      </p:sp>
      <p:sp>
        <p:nvSpPr>
          <p:cNvPr id="6" name="Rechteck 44">
            <a:extLst>
              <a:ext uri="{FF2B5EF4-FFF2-40B4-BE49-F238E27FC236}">
                <a16:creationId xmlns:a16="http://schemas.microsoft.com/office/drawing/2014/main" id="{C6BC6E99-1D15-9EED-E913-2D817EBEF903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</a:t>
            </a:r>
            <a:endParaRPr lang="en-GB" sz="1400" dirty="0">
              <a:solidFill>
                <a:schemeClr val="tx2"/>
              </a:solidFill>
            </a:endParaRP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accent6"/>
                </a:solidFill>
              </a:rPr>
              <a:t>Headline: try to keep it short, within ONE line. Do not extend the placeholder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 not add borders to the pictures</a:t>
            </a:r>
          </a:p>
        </p:txBody>
      </p:sp>
    </p:spTree>
    <p:extLst>
      <p:ext uri="{BB962C8B-B14F-4D97-AF65-F5344CB8AC3E}">
        <p14:creationId xmlns:p14="http://schemas.microsoft.com/office/powerpoint/2010/main" val="30082839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images blu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293FCD6-DC8B-E296-C2E2-41CDD5D4DF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4051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93FCD6-DC8B-E296-C2E2-41CDD5D4DF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3D6F78B-BEEC-1FB7-2E69-FE49143D21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A40536B-1835-EBC4-9FE6-D7BE052AA9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43108A-4CEC-450F-9F79-7958F0401B7E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F1CF425-A9D3-7D88-070F-44D48BB89F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34023C7A-8E4B-FCFC-5284-21D503F9059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>
                <a:solidFill>
                  <a:schemeClr val="accent3"/>
                </a:solidFill>
              </a:defRPr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474EC707-E6FC-67A5-B9A0-3CB0530AB62B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grpSp>
        <p:nvGrpSpPr>
          <p:cNvPr id="4" name="Gruppieren 14">
            <a:extLst>
              <a:ext uri="{FF2B5EF4-FFF2-40B4-BE49-F238E27FC236}">
                <a16:creationId xmlns:a16="http://schemas.microsoft.com/office/drawing/2014/main" id="{6BE5F923-7209-2714-C5A8-0CD182C8B331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15F14E8A-B426-7B40-D7D2-6764FCBAE14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8" name="Rectangle 8">
              <a:extLst>
                <a:ext uri="{FF2B5EF4-FFF2-40B4-BE49-F238E27FC236}">
                  <a16:creationId xmlns:a16="http://schemas.microsoft.com/office/drawing/2014/main" id="{47AF82EE-3D48-1966-74B1-D83DECB0805E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CAE1C3AA-EC47-1DF1-B903-39912C5A0D55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C0F5DBEF-AED4-B25E-81A6-FFC44C29D2E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3D9E7DC-2985-6842-DA56-F678B0053E0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709FEFE8-A816-EB8A-8106-3EE3FE448C7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id="{A6A71ED2-128E-8F04-66D3-1470B42E083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94A1FCE3-3F68-04E4-E7CE-D27C9DCB0C3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81BFE46D-5AE2-710E-0340-15E7B1DAF1C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16">
              <a:extLst>
                <a:ext uri="{FF2B5EF4-FFF2-40B4-BE49-F238E27FC236}">
                  <a16:creationId xmlns:a16="http://schemas.microsoft.com/office/drawing/2014/main" id="{E0A7A468-5E40-D87C-3B36-C7C88994894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17">
              <a:extLst>
                <a:ext uri="{FF2B5EF4-FFF2-40B4-BE49-F238E27FC236}">
                  <a16:creationId xmlns:a16="http://schemas.microsoft.com/office/drawing/2014/main" id="{4C9D2C2D-3029-8C60-DBBF-DDC49DDB34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18">
              <a:extLst>
                <a:ext uri="{FF2B5EF4-FFF2-40B4-BE49-F238E27FC236}">
                  <a16:creationId xmlns:a16="http://schemas.microsoft.com/office/drawing/2014/main" id="{AA3D1E87-1AA4-070B-4704-4F6852DD3FC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19">
              <a:extLst>
                <a:ext uri="{FF2B5EF4-FFF2-40B4-BE49-F238E27FC236}">
                  <a16:creationId xmlns:a16="http://schemas.microsoft.com/office/drawing/2014/main" id="{CBFE9AD8-2B49-E8CC-1511-5C7955F847C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6" name="Freeform 20">
              <a:extLst>
                <a:ext uri="{FF2B5EF4-FFF2-40B4-BE49-F238E27FC236}">
                  <a16:creationId xmlns:a16="http://schemas.microsoft.com/office/drawing/2014/main" id="{E49801C7-3BA7-BEA3-6052-F0F1504F18B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21">
              <a:extLst>
                <a:ext uri="{FF2B5EF4-FFF2-40B4-BE49-F238E27FC236}">
                  <a16:creationId xmlns:a16="http://schemas.microsoft.com/office/drawing/2014/main" id="{3B431545-57E3-F956-83ED-05058B52C03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8" name="Freeform 22">
              <a:extLst>
                <a:ext uri="{FF2B5EF4-FFF2-40B4-BE49-F238E27FC236}">
                  <a16:creationId xmlns:a16="http://schemas.microsoft.com/office/drawing/2014/main" id="{06B9B3C2-FD4D-D291-3EDC-4EC97F13DD2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9" name="Freeform 23">
              <a:extLst>
                <a:ext uri="{FF2B5EF4-FFF2-40B4-BE49-F238E27FC236}">
                  <a16:creationId xmlns:a16="http://schemas.microsoft.com/office/drawing/2014/main" id="{66AAD2DD-E000-75E6-EA5F-E23B29B9DA3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0" name="Freeform 24">
              <a:extLst>
                <a:ext uri="{FF2B5EF4-FFF2-40B4-BE49-F238E27FC236}">
                  <a16:creationId xmlns:a16="http://schemas.microsoft.com/office/drawing/2014/main" id="{A8370DF1-0C78-1A51-D18C-E52B0C77BE2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1" name="Freeform 25">
              <a:extLst>
                <a:ext uri="{FF2B5EF4-FFF2-40B4-BE49-F238E27FC236}">
                  <a16:creationId xmlns:a16="http://schemas.microsoft.com/office/drawing/2014/main" id="{B981BBCE-7DBA-9155-10CE-DCCB0101CDA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2" name="Freeform 26">
              <a:extLst>
                <a:ext uri="{FF2B5EF4-FFF2-40B4-BE49-F238E27FC236}">
                  <a16:creationId xmlns:a16="http://schemas.microsoft.com/office/drawing/2014/main" id="{4C50B18A-38F8-0126-E683-FC7604FFFEA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3" name="Freeform 27">
              <a:extLst>
                <a:ext uri="{FF2B5EF4-FFF2-40B4-BE49-F238E27FC236}">
                  <a16:creationId xmlns:a16="http://schemas.microsoft.com/office/drawing/2014/main" id="{DEB55550-5864-FF87-E699-FB49E620928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4" name="Freeform 28">
              <a:extLst>
                <a:ext uri="{FF2B5EF4-FFF2-40B4-BE49-F238E27FC236}">
                  <a16:creationId xmlns:a16="http://schemas.microsoft.com/office/drawing/2014/main" id="{8999F6B9-86C3-5CAF-DA3D-AF328201C37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179F2E42-446A-266F-5881-7121CE623AF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03D85EF5-F399-7E7B-BBD9-4ABD9C7407A0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7987" y="4891314"/>
            <a:ext cx="3600451" cy="1490435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  <a:endParaRPr lang="en-CA" dirty="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52E9F921-B95D-5D03-D22C-A83EFBD5435C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295775" y="4891314"/>
            <a:ext cx="3600449" cy="1490435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  <a:endParaRPr lang="en-CA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E05E6310-A6E1-2C17-C0A9-A3F432D5711E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183563" y="4891314"/>
            <a:ext cx="3600447" cy="1490435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  <a:endParaRPr lang="en-CA" dirty="0"/>
          </a:p>
        </p:txBody>
      </p:sp>
      <p:sp>
        <p:nvSpPr>
          <p:cNvPr id="13" name="Textplatzhalter 52">
            <a:extLst>
              <a:ext uri="{FF2B5EF4-FFF2-40B4-BE49-F238E27FC236}">
                <a16:creationId xmlns:a16="http://schemas.microsoft.com/office/drawing/2014/main" id="{84E2AD3C-8285-106A-1850-B4421F361B6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7987" y="1484312"/>
            <a:ext cx="3600453" cy="432000"/>
          </a:xfrm>
          <a:prstGeom prst="roundRect">
            <a:avLst>
              <a:gd name="adj" fmla="val 50000"/>
            </a:avLst>
          </a:prstGeom>
          <a:ln>
            <a:solidFill>
              <a:schemeClr val="bg1"/>
            </a:solidFill>
          </a:ln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1600" cap="none" baseline="0">
                <a:solidFill>
                  <a:schemeClr val="bg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Headline</a:t>
            </a:r>
            <a:endParaRPr lang="en-CA" dirty="0"/>
          </a:p>
        </p:txBody>
      </p:sp>
      <p:sp>
        <p:nvSpPr>
          <p:cNvPr id="18" name="Bildplatzhalter 9">
            <a:extLst>
              <a:ext uri="{FF2B5EF4-FFF2-40B4-BE49-F238E27FC236}">
                <a16:creationId xmlns:a16="http://schemas.microsoft.com/office/drawing/2014/main" id="{EB5E5C00-9DF1-1EB9-5B6D-772207FF600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07985" y="2203647"/>
            <a:ext cx="3600453" cy="2400334"/>
          </a:xfrm>
          <a:custGeom>
            <a:avLst/>
            <a:gdLst>
              <a:gd name="connsiteX0" fmla="*/ 219579 w 3600453"/>
              <a:gd name="connsiteY0" fmla="*/ 0 h 2496065"/>
              <a:gd name="connsiteX1" fmla="*/ 316022 w 3600453"/>
              <a:gd name="connsiteY1" fmla="*/ 0 h 2496065"/>
              <a:gd name="connsiteX2" fmla="*/ 1030236 w 3600453"/>
              <a:gd name="connsiteY2" fmla="*/ 0 h 2496065"/>
              <a:gd name="connsiteX3" fmla="*/ 1126679 w 3600453"/>
              <a:gd name="connsiteY3" fmla="*/ 0 h 2496065"/>
              <a:gd name="connsiteX4" fmla="*/ 2473774 w 3600453"/>
              <a:gd name="connsiteY4" fmla="*/ 0 h 2496065"/>
              <a:gd name="connsiteX5" fmla="*/ 2570217 w 3600453"/>
              <a:gd name="connsiteY5" fmla="*/ 0 h 2496065"/>
              <a:gd name="connsiteX6" fmla="*/ 3284431 w 3600453"/>
              <a:gd name="connsiteY6" fmla="*/ 0 h 2496065"/>
              <a:gd name="connsiteX7" fmla="*/ 3380874 w 3600453"/>
              <a:gd name="connsiteY7" fmla="*/ 0 h 2496065"/>
              <a:gd name="connsiteX8" fmla="*/ 3600453 w 3600453"/>
              <a:gd name="connsiteY8" fmla="*/ 219579 h 2496065"/>
              <a:gd name="connsiteX9" fmla="*/ 3600453 w 3600453"/>
              <a:gd name="connsiteY9" fmla="*/ 2276486 h 2496065"/>
              <a:gd name="connsiteX10" fmla="*/ 3380874 w 3600453"/>
              <a:gd name="connsiteY10" fmla="*/ 2496065 h 2496065"/>
              <a:gd name="connsiteX11" fmla="*/ 3284431 w 3600453"/>
              <a:gd name="connsiteY11" fmla="*/ 2496065 h 2496065"/>
              <a:gd name="connsiteX12" fmla="*/ 2570217 w 3600453"/>
              <a:gd name="connsiteY12" fmla="*/ 2496065 h 2496065"/>
              <a:gd name="connsiteX13" fmla="*/ 2473774 w 3600453"/>
              <a:gd name="connsiteY13" fmla="*/ 2496065 h 2496065"/>
              <a:gd name="connsiteX14" fmla="*/ 1126679 w 3600453"/>
              <a:gd name="connsiteY14" fmla="*/ 2496065 h 2496065"/>
              <a:gd name="connsiteX15" fmla="*/ 1030236 w 3600453"/>
              <a:gd name="connsiteY15" fmla="*/ 2496065 h 2496065"/>
              <a:gd name="connsiteX16" fmla="*/ 316022 w 3600453"/>
              <a:gd name="connsiteY16" fmla="*/ 2496065 h 2496065"/>
              <a:gd name="connsiteX17" fmla="*/ 219579 w 3600453"/>
              <a:gd name="connsiteY17" fmla="*/ 2496065 h 2496065"/>
              <a:gd name="connsiteX18" fmla="*/ 0 w 3600453"/>
              <a:gd name="connsiteY18" fmla="*/ 2276486 h 2496065"/>
              <a:gd name="connsiteX19" fmla="*/ 0 w 3600453"/>
              <a:gd name="connsiteY19" fmla="*/ 219579 h 2496065"/>
              <a:gd name="connsiteX20" fmla="*/ 219579 w 3600453"/>
              <a:gd name="connsiteY20" fmla="*/ 0 h 2496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600453" h="2496065">
                <a:moveTo>
                  <a:pt x="219579" y="0"/>
                </a:moveTo>
                <a:lnTo>
                  <a:pt x="316022" y="0"/>
                </a:lnTo>
                <a:lnTo>
                  <a:pt x="1030236" y="0"/>
                </a:lnTo>
                <a:lnTo>
                  <a:pt x="1126679" y="0"/>
                </a:lnTo>
                <a:lnTo>
                  <a:pt x="2473774" y="0"/>
                </a:lnTo>
                <a:lnTo>
                  <a:pt x="2570217" y="0"/>
                </a:lnTo>
                <a:lnTo>
                  <a:pt x="3284431" y="0"/>
                </a:lnTo>
                <a:lnTo>
                  <a:pt x="3380874" y="0"/>
                </a:lnTo>
                <a:cubicBezTo>
                  <a:pt x="3502144" y="0"/>
                  <a:pt x="3600453" y="98309"/>
                  <a:pt x="3600453" y="219579"/>
                </a:cubicBezTo>
                <a:lnTo>
                  <a:pt x="3600453" y="2276486"/>
                </a:lnTo>
                <a:cubicBezTo>
                  <a:pt x="3600453" y="2397757"/>
                  <a:pt x="3502144" y="2496065"/>
                  <a:pt x="3380874" y="2496065"/>
                </a:cubicBezTo>
                <a:lnTo>
                  <a:pt x="3284431" y="2496065"/>
                </a:lnTo>
                <a:lnTo>
                  <a:pt x="2570217" y="2496065"/>
                </a:lnTo>
                <a:lnTo>
                  <a:pt x="2473774" y="2496065"/>
                </a:lnTo>
                <a:lnTo>
                  <a:pt x="1126679" y="2496065"/>
                </a:lnTo>
                <a:lnTo>
                  <a:pt x="1030236" y="2496065"/>
                </a:lnTo>
                <a:lnTo>
                  <a:pt x="316022" y="2496065"/>
                </a:lnTo>
                <a:lnTo>
                  <a:pt x="219579" y="2496065"/>
                </a:lnTo>
                <a:cubicBezTo>
                  <a:pt x="98309" y="2496065"/>
                  <a:pt x="0" y="2397757"/>
                  <a:pt x="0" y="2276486"/>
                </a:cubicBezTo>
                <a:lnTo>
                  <a:pt x="0" y="219579"/>
                </a:lnTo>
                <a:cubicBezTo>
                  <a:pt x="0" y="98309"/>
                  <a:pt x="98309" y="0"/>
                  <a:pt x="21957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CA"/>
          </a:p>
        </p:txBody>
      </p:sp>
      <p:sp>
        <p:nvSpPr>
          <p:cNvPr id="19" name="Textplatzhalter 52">
            <a:extLst>
              <a:ext uri="{FF2B5EF4-FFF2-40B4-BE49-F238E27FC236}">
                <a16:creationId xmlns:a16="http://schemas.microsoft.com/office/drawing/2014/main" id="{6EF9980A-92BD-3A10-110C-956FA8EDC1E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95771" y="1484312"/>
            <a:ext cx="3600453" cy="432000"/>
          </a:xfrm>
          <a:prstGeom prst="roundRect">
            <a:avLst>
              <a:gd name="adj" fmla="val 50000"/>
            </a:avLst>
          </a:prstGeom>
          <a:ln>
            <a:solidFill>
              <a:schemeClr val="bg1"/>
            </a:solidFill>
          </a:ln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1600" cap="none" baseline="0">
                <a:solidFill>
                  <a:schemeClr val="bg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eadline</a:t>
            </a:r>
            <a:endParaRPr lang="en-CA"/>
          </a:p>
        </p:txBody>
      </p:sp>
      <p:sp>
        <p:nvSpPr>
          <p:cNvPr id="20" name="Textplatzhalter 52">
            <a:extLst>
              <a:ext uri="{FF2B5EF4-FFF2-40B4-BE49-F238E27FC236}">
                <a16:creationId xmlns:a16="http://schemas.microsoft.com/office/drawing/2014/main" id="{F8C5AA99-150C-F910-C80D-617DF468D96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83563" y="1484312"/>
            <a:ext cx="3600453" cy="432000"/>
          </a:xfrm>
          <a:prstGeom prst="roundRect">
            <a:avLst>
              <a:gd name="adj" fmla="val 50000"/>
            </a:avLst>
          </a:prstGeom>
          <a:ln>
            <a:solidFill>
              <a:schemeClr val="bg1"/>
            </a:solidFill>
          </a:ln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1600" cap="none" baseline="0">
                <a:solidFill>
                  <a:schemeClr val="bg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eadline</a:t>
            </a:r>
            <a:endParaRPr lang="en-CA"/>
          </a:p>
        </p:txBody>
      </p:sp>
      <p:sp>
        <p:nvSpPr>
          <p:cNvPr id="22" name="Bildplatzhalter 10">
            <a:extLst>
              <a:ext uri="{FF2B5EF4-FFF2-40B4-BE49-F238E27FC236}">
                <a16:creationId xmlns:a16="http://schemas.microsoft.com/office/drawing/2014/main" id="{5EAB29C2-7E41-3BD4-E750-28FBCE0F0C91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295771" y="2203647"/>
            <a:ext cx="3600453" cy="2400334"/>
          </a:xfrm>
          <a:custGeom>
            <a:avLst/>
            <a:gdLst>
              <a:gd name="connsiteX0" fmla="*/ 219579 w 3600453"/>
              <a:gd name="connsiteY0" fmla="*/ 0 h 2496065"/>
              <a:gd name="connsiteX1" fmla="*/ 316022 w 3600453"/>
              <a:gd name="connsiteY1" fmla="*/ 0 h 2496065"/>
              <a:gd name="connsiteX2" fmla="*/ 1030236 w 3600453"/>
              <a:gd name="connsiteY2" fmla="*/ 0 h 2496065"/>
              <a:gd name="connsiteX3" fmla="*/ 1126679 w 3600453"/>
              <a:gd name="connsiteY3" fmla="*/ 0 h 2496065"/>
              <a:gd name="connsiteX4" fmla="*/ 2473774 w 3600453"/>
              <a:gd name="connsiteY4" fmla="*/ 0 h 2496065"/>
              <a:gd name="connsiteX5" fmla="*/ 2570217 w 3600453"/>
              <a:gd name="connsiteY5" fmla="*/ 0 h 2496065"/>
              <a:gd name="connsiteX6" fmla="*/ 3284431 w 3600453"/>
              <a:gd name="connsiteY6" fmla="*/ 0 h 2496065"/>
              <a:gd name="connsiteX7" fmla="*/ 3380874 w 3600453"/>
              <a:gd name="connsiteY7" fmla="*/ 0 h 2496065"/>
              <a:gd name="connsiteX8" fmla="*/ 3600453 w 3600453"/>
              <a:gd name="connsiteY8" fmla="*/ 219579 h 2496065"/>
              <a:gd name="connsiteX9" fmla="*/ 3600453 w 3600453"/>
              <a:gd name="connsiteY9" fmla="*/ 2276486 h 2496065"/>
              <a:gd name="connsiteX10" fmla="*/ 3380874 w 3600453"/>
              <a:gd name="connsiteY10" fmla="*/ 2496065 h 2496065"/>
              <a:gd name="connsiteX11" fmla="*/ 3284431 w 3600453"/>
              <a:gd name="connsiteY11" fmla="*/ 2496065 h 2496065"/>
              <a:gd name="connsiteX12" fmla="*/ 2570217 w 3600453"/>
              <a:gd name="connsiteY12" fmla="*/ 2496065 h 2496065"/>
              <a:gd name="connsiteX13" fmla="*/ 2473774 w 3600453"/>
              <a:gd name="connsiteY13" fmla="*/ 2496065 h 2496065"/>
              <a:gd name="connsiteX14" fmla="*/ 1126679 w 3600453"/>
              <a:gd name="connsiteY14" fmla="*/ 2496065 h 2496065"/>
              <a:gd name="connsiteX15" fmla="*/ 1030236 w 3600453"/>
              <a:gd name="connsiteY15" fmla="*/ 2496065 h 2496065"/>
              <a:gd name="connsiteX16" fmla="*/ 316022 w 3600453"/>
              <a:gd name="connsiteY16" fmla="*/ 2496065 h 2496065"/>
              <a:gd name="connsiteX17" fmla="*/ 219579 w 3600453"/>
              <a:gd name="connsiteY17" fmla="*/ 2496065 h 2496065"/>
              <a:gd name="connsiteX18" fmla="*/ 0 w 3600453"/>
              <a:gd name="connsiteY18" fmla="*/ 2276486 h 2496065"/>
              <a:gd name="connsiteX19" fmla="*/ 0 w 3600453"/>
              <a:gd name="connsiteY19" fmla="*/ 219579 h 2496065"/>
              <a:gd name="connsiteX20" fmla="*/ 219579 w 3600453"/>
              <a:gd name="connsiteY20" fmla="*/ 0 h 2496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600453" h="2496065">
                <a:moveTo>
                  <a:pt x="219579" y="0"/>
                </a:moveTo>
                <a:lnTo>
                  <a:pt x="316022" y="0"/>
                </a:lnTo>
                <a:lnTo>
                  <a:pt x="1030236" y="0"/>
                </a:lnTo>
                <a:lnTo>
                  <a:pt x="1126679" y="0"/>
                </a:lnTo>
                <a:lnTo>
                  <a:pt x="2473774" y="0"/>
                </a:lnTo>
                <a:lnTo>
                  <a:pt x="2570217" y="0"/>
                </a:lnTo>
                <a:lnTo>
                  <a:pt x="3284431" y="0"/>
                </a:lnTo>
                <a:lnTo>
                  <a:pt x="3380874" y="0"/>
                </a:lnTo>
                <a:cubicBezTo>
                  <a:pt x="3502144" y="0"/>
                  <a:pt x="3600453" y="98309"/>
                  <a:pt x="3600453" y="219579"/>
                </a:cubicBezTo>
                <a:lnTo>
                  <a:pt x="3600453" y="2276486"/>
                </a:lnTo>
                <a:cubicBezTo>
                  <a:pt x="3600453" y="2397757"/>
                  <a:pt x="3502144" y="2496065"/>
                  <a:pt x="3380874" y="2496065"/>
                </a:cubicBezTo>
                <a:lnTo>
                  <a:pt x="3284431" y="2496065"/>
                </a:lnTo>
                <a:lnTo>
                  <a:pt x="2570217" y="2496065"/>
                </a:lnTo>
                <a:lnTo>
                  <a:pt x="2473774" y="2496065"/>
                </a:lnTo>
                <a:lnTo>
                  <a:pt x="1126679" y="2496065"/>
                </a:lnTo>
                <a:lnTo>
                  <a:pt x="1030236" y="2496065"/>
                </a:lnTo>
                <a:lnTo>
                  <a:pt x="316022" y="2496065"/>
                </a:lnTo>
                <a:lnTo>
                  <a:pt x="219579" y="2496065"/>
                </a:lnTo>
                <a:cubicBezTo>
                  <a:pt x="98309" y="2496065"/>
                  <a:pt x="0" y="2397757"/>
                  <a:pt x="0" y="2276486"/>
                </a:cubicBezTo>
                <a:lnTo>
                  <a:pt x="0" y="219579"/>
                </a:lnTo>
                <a:cubicBezTo>
                  <a:pt x="0" y="98309"/>
                  <a:pt x="98309" y="0"/>
                  <a:pt x="21957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CA"/>
          </a:p>
        </p:txBody>
      </p:sp>
      <p:sp>
        <p:nvSpPr>
          <p:cNvPr id="23" name="Bildplatzhalter 11">
            <a:extLst>
              <a:ext uri="{FF2B5EF4-FFF2-40B4-BE49-F238E27FC236}">
                <a16:creationId xmlns:a16="http://schemas.microsoft.com/office/drawing/2014/main" id="{B9B64718-3E08-A7EB-E7C2-9505144934D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183563" y="2203647"/>
            <a:ext cx="3600453" cy="2400334"/>
          </a:xfrm>
          <a:custGeom>
            <a:avLst/>
            <a:gdLst>
              <a:gd name="connsiteX0" fmla="*/ 219579 w 3600453"/>
              <a:gd name="connsiteY0" fmla="*/ 0 h 2496065"/>
              <a:gd name="connsiteX1" fmla="*/ 316022 w 3600453"/>
              <a:gd name="connsiteY1" fmla="*/ 0 h 2496065"/>
              <a:gd name="connsiteX2" fmla="*/ 1030236 w 3600453"/>
              <a:gd name="connsiteY2" fmla="*/ 0 h 2496065"/>
              <a:gd name="connsiteX3" fmla="*/ 1126679 w 3600453"/>
              <a:gd name="connsiteY3" fmla="*/ 0 h 2496065"/>
              <a:gd name="connsiteX4" fmla="*/ 2473774 w 3600453"/>
              <a:gd name="connsiteY4" fmla="*/ 0 h 2496065"/>
              <a:gd name="connsiteX5" fmla="*/ 2570217 w 3600453"/>
              <a:gd name="connsiteY5" fmla="*/ 0 h 2496065"/>
              <a:gd name="connsiteX6" fmla="*/ 3284431 w 3600453"/>
              <a:gd name="connsiteY6" fmla="*/ 0 h 2496065"/>
              <a:gd name="connsiteX7" fmla="*/ 3380874 w 3600453"/>
              <a:gd name="connsiteY7" fmla="*/ 0 h 2496065"/>
              <a:gd name="connsiteX8" fmla="*/ 3600453 w 3600453"/>
              <a:gd name="connsiteY8" fmla="*/ 219579 h 2496065"/>
              <a:gd name="connsiteX9" fmla="*/ 3600453 w 3600453"/>
              <a:gd name="connsiteY9" fmla="*/ 2276486 h 2496065"/>
              <a:gd name="connsiteX10" fmla="*/ 3380874 w 3600453"/>
              <a:gd name="connsiteY10" fmla="*/ 2496065 h 2496065"/>
              <a:gd name="connsiteX11" fmla="*/ 3284431 w 3600453"/>
              <a:gd name="connsiteY11" fmla="*/ 2496065 h 2496065"/>
              <a:gd name="connsiteX12" fmla="*/ 2570217 w 3600453"/>
              <a:gd name="connsiteY12" fmla="*/ 2496065 h 2496065"/>
              <a:gd name="connsiteX13" fmla="*/ 2473774 w 3600453"/>
              <a:gd name="connsiteY13" fmla="*/ 2496065 h 2496065"/>
              <a:gd name="connsiteX14" fmla="*/ 1126679 w 3600453"/>
              <a:gd name="connsiteY14" fmla="*/ 2496065 h 2496065"/>
              <a:gd name="connsiteX15" fmla="*/ 1030236 w 3600453"/>
              <a:gd name="connsiteY15" fmla="*/ 2496065 h 2496065"/>
              <a:gd name="connsiteX16" fmla="*/ 316022 w 3600453"/>
              <a:gd name="connsiteY16" fmla="*/ 2496065 h 2496065"/>
              <a:gd name="connsiteX17" fmla="*/ 219579 w 3600453"/>
              <a:gd name="connsiteY17" fmla="*/ 2496065 h 2496065"/>
              <a:gd name="connsiteX18" fmla="*/ 0 w 3600453"/>
              <a:gd name="connsiteY18" fmla="*/ 2276486 h 2496065"/>
              <a:gd name="connsiteX19" fmla="*/ 0 w 3600453"/>
              <a:gd name="connsiteY19" fmla="*/ 219579 h 2496065"/>
              <a:gd name="connsiteX20" fmla="*/ 219579 w 3600453"/>
              <a:gd name="connsiteY20" fmla="*/ 0 h 2496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600453" h="2496065">
                <a:moveTo>
                  <a:pt x="219579" y="0"/>
                </a:moveTo>
                <a:lnTo>
                  <a:pt x="316022" y="0"/>
                </a:lnTo>
                <a:lnTo>
                  <a:pt x="1030236" y="0"/>
                </a:lnTo>
                <a:lnTo>
                  <a:pt x="1126679" y="0"/>
                </a:lnTo>
                <a:lnTo>
                  <a:pt x="2473774" y="0"/>
                </a:lnTo>
                <a:lnTo>
                  <a:pt x="2570217" y="0"/>
                </a:lnTo>
                <a:lnTo>
                  <a:pt x="3284431" y="0"/>
                </a:lnTo>
                <a:lnTo>
                  <a:pt x="3380874" y="0"/>
                </a:lnTo>
                <a:cubicBezTo>
                  <a:pt x="3502144" y="0"/>
                  <a:pt x="3600453" y="98309"/>
                  <a:pt x="3600453" y="219579"/>
                </a:cubicBezTo>
                <a:lnTo>
                  <a:pt x="3600453" y="2276486"/>
                </a:lnTo>
                <a:cubicBezTo>
                  <a:pt x="3600453" y="2397757"/>
                  <a:pt x="3502144" y="2496065"/>
                  <a:pt x="3380874" y="2496065"/>
                </a:cubicBezTo>
                <a:lnTo>
                  <a:pt x="3284431" y="2496065"/>
                </a:lnTo>
                <a:lnTo>
                  <a:pt x="2570217" y="2496065"/>
                </a:lnTo>
                <a:lnTo>
                  <a:pt x="2473774" y="2496065"/>
                </a:lnTo>
                <a:lnTo>
                  <a:pt x="1126679" y="2496065"/>
                </a:lnTo>
                <a:lnTo>
                  <a:pt x="1030236" y="2496065"/>
                </a:lnTo>
                <a:lnTo>
                  <a:pt x="316022" y="2496065"/>
                </a:lnTo>
                <a:lnTo>
                  <a:pt x="219579" y="2496065"/>
                </a:lnTo>
                <a:cubicBezTo>
                  <a:pt x="98309" y="2496065"/>
                  <a:pt x="0" y="2397757"/>
                  <a:pt x="0" y="2276486"/>
                </a:cubicBezTo>
                <a:lnTo>
                  <a:pt x="0" y="219579"/>
                </a:lnTo>
                <a:cubicBezTo>
                  <a:pt x="0" y="98309"/>
                  <a:pt x="98309" y="0"/>
                  <a:pt x="21957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CA"/>
          </a:p>
        </p:txBody>
      </p:sp>
      <p:sp>
        <p:nvSpPr>
          <p:cNvPr id="28" name="Rechteck 44">
            <a:extLst>
              <a:ext uri="{FF2B5EF4-FFF2-40B4-BE49-F238E27FC236}">
                <a16:creationId xmlns:a16="http://schemas.microsoft.com/office/drawing/2014/main" id="{7E6D5DE4-4585-54E2-39A7-B7214AF1894E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accent6"/>
                </a:solidFill>
              </a:rPr>
              <a:t>Headline: try to keep it short, within ONE line. Do not extend the placeholder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chemeClr val="accent6"/>
                </a:solidFill>
              </a:rPr>
              <a:t>Do not add borders to the pictures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8126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39B02A4-0D62-2C76-5355-377BE0347D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0100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9B02A4-0D62-2C76-5355-377BE0347D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D194ECB-CC32-B9E9-A61F-B149814AF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DF6F4B-1697-75DD-0D00-8453E80EECC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0C577D-249B-E34D-F4DD-C4866A7E8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07F064-BD39-4FE4-B9A2-7344DA85858F}" type="datetime1">
              <a:rPr lang="de-DE" smtClean="0"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F4C4EE-018F-91D7-2A63-2D3B5AF22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17D222D-8F33-4C88-A6E6-06BD1C7F21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/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5" name="Rechteck 44">
            <a:extLst>
              <a:ext uri="{FF2B5EF4-FFF2-40B4-BE49-F238E27FC236}">
                <a16:creationId xmlns:a16="http://schemas.microsoft.com/office/drawing/2014/main" id="{4DD6B057-9D44-267D-9D14-E4FB2B83478C}"/>
              </a:ext>
            </a:extLst>
          </p:cNvPr>
          <p:cNvSpPr/>
          <p:nvPr userDrawn="1"/>
        </p:nvSpPr>
        <p:spPr>
          <a:xfrm>
            <a:off x="12341678" y="-1"/>
            <a:ext cx="3012754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7AF83F8-2DF4-4BF6-3BB2-91569695A91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563849" y="2349500"/>
            <a:ext cx="4286250" cy="8763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941A07B-9647-1561-BA82-ECDC65B9205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563848" y="3331754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6769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mage righ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F6B1D54-B5EC-EDAE-003E-6134466F2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0649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6B1D54-B5EC-EDAE-003E-6134466F2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9479C4F-FDCA-30FF-709F-81A00CD7238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83563" y="1484314"/>
            <a:ext cx="3600447" cy="4897436"/>
          </a:xfrm>
          <a:custGeom>
            <a:avLst/>
            <a:gdLst>
              <a:gd name="connsiteX0" fmla="*/ 285669 w 3600447"/>
              <a:gd name="connsiteY0" fmla="*/ 0 h 4897436"/>
              <a:gd name="connsiteX1" fmla="*/ 382107 w 3600447"/>
              <a:gd name="connsiteY1" fmla="*/ 0 h 4897436"/>
              <a:gd name="connsiteX2" fmla="*/ 3218340 w 3600447"/>
              <a:gd name="connsiteY2" fmla="*/ 0 h 4897436"/>
              <a:gd name="connsiteX3" fmla="*/ 3314778 w 3600447"/>
              <a:gd name="connsiteY3" fmla="*/ 0 h 4897436"/>
              <a:gd name="connsiteX4" fmla="*/ 3600447 w 3600447"/>
              <a:gd name="connsiteY4" fmla="*/ 285669 h 4897436"/>
              <a:gd name="connsiteX5" fmla="*/ 3600447 w 3600447"/>
              <a:gd name="connsiteY5" fmla="*/ 1935761 h 4897436"/>
              <a:gd name="connsiteX6" fmla="*/ 3600447 w 3600447"/>
              <a:gd name="connsiteY6" fmla="*/ 2961675 h 4897436"/>
              <a:gd name="connsiteX7" fmla="*/ 3600447 w 3600447"/>
              <a:gd name="connsiteY7" fmla="*/ 4611767 h 4897436"/>
              <a:gd name="connsiteX8" fmla="*/ 3314778 w 3600447"/>
              <a:gd name="connsiteY8" fmla="*/ 4897436 h 4897436"/>
              <a:gd name="connsiteX9" fmla="*/ 3218340 w 3600447"/>
              <a:gd name="connsiteY9" fmla="*/ 4897436 h 4897436"/>
              <a:gd name="connsiteX10" fmla="*/ 382107 w 3600447"/>
              <a:gd name="connsiteY10" fmla="*/ 4897436 h 4897436"/>
              <a:gd name="connsiteX11" fmla="*/ 285669 w 3600447"/>
              <a:gd name="connsiteY11" fmla="*/ 4897436 h 4897436"/>
              <a:gd name="connsiteX12" fmla="*/ 0 w 3600447"/>
              <a:gd name="connsiteY12" fmla="*/ 4611767 h 4897436"/>
              <a:gd name="connsiteX13" fmla="*/ 0 w 3600447"/>
              <a:gd name="connsiteY13" fmla="*/ 2961675 h 4897436"/>
              <a:gd name="connsiteX14" fmla="*/ 0 w 3600447"/>
              <a:gd name="connsiteY14" fmla="*/ 1935761 h 4897436"/>
              <a:gd name="connsiteX15" fmla="*/ 0 w 3600447"/>
              <a:gd name="connsiteY15" fmla="*/ 285669 h 4897436"/>
              <a:gd name="connsiteX16" fmla="*/ 285669 w 3600447"/>
              <a:gd name="connsiteY16" fmla="*/ 0 h 4897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00447" h="4897436">
                <a:moveTo>
                  <a:pt x="285669" y="0"/>
                </a:moveTo>
                <a:lnTo>
                  <a:pt x="382107" y="0"/>
                </a:lnTo>
                <a:lnTo>
                  <a:pt x="3218340" y="0"/>
                </a:lnTo>
                <a:lnTo>
                  <a:pt x="3314778" y="0"/>
                </a:lnTo>
                <a:cubicBezTo>
                  <a:pt x="3472549" y="0"/>
                  <a:pt x="3600447" y="127898"/>
                  <a:pt x="3600447" y="285669"/>
                </a:cubicBezTo>
                <a:lnTo>
                  <a:pt x="3600447" y="1935761"/>
                </a:lnTo>
                <a:lnTo>
                  <a:pt x="3600447" y="2961675"/>
                </a:lnTo>
                <a:lnTo>
                  <a:pt x="3600447" y="4611767"/>
                </a:lnTo>
                <a:cubicBezTo>
                  <a:pt x="3600447" y="4769538"/>
                  <a:pt x="3472549" y="4897436"/>
                  <a:pt x="3314778" y="4897436"/>
                </a:cubicBezTo>
                <a:lnTo>
                  <a:pt x="3218340" y="4897436"/>
                </a:lnTo>
                <a:lnTo>
                  <a:pt x="382107" y="4897436"/>
                </a:lnTo>
                <a:lnTo>
                  <a:pt x="285669" y="4897436"/>
                </a:lnTo>
                <a:cubicBezTo>
                  <a:pt x="127898" y="4897436"/>
                  <a:pt x="0" y="4769538"/>
                  <a:pt x="0" y="4611767"/>
                </a:cubicBezTo>
                <a:lnTo>
                  <a:pt x="0" y="2961675"/>
                </a:lnTo>
                <a:lnTo>
                  <a:pt x="0" y="1935761"/>
                </a:lnTo>
                <a:lnTo>
                  <a:pt x="0" y="285669"/>
                </a:lnTo>
                <a:cubicBezTo>
                  <a:pt x="0" y="127898"/>
                  <a:pt x="127898" y="0"/>
                  <a:pt x="28566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CA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D194ECB-CC32-B9E9-A61F-B149814AF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DF6F4B-1697-75DD-0D00-8453E80EECC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987" y="1484312"/>
            <a:ext cx="7488238" cy="4897438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0C577D-249B-E34D-F4DD-C4866A7E8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0E1999-4726-4600-8B88-4A7F5C00CB35}" type="datetime1">
              <a:rPr lang="de-DE" smtClean="0"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F4C4EE-018F-91D7-2A63-2D3B5AF22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17D222D-8F33-4C88-A6E6-06BD1C7F21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/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11" name="Rechteck 44">
            <a:extLst>
              <a:ext uri="{FF2B5EF4-FFF2-40B4-BE49-F238E27FC236}">
                <a16:creationId xmlns:a16="http://schemas.microsoft.com/office/drawing/2014/main" id="{D08264CD-1D31-1C0E-A2E4-7F2C29C558FF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930E30E-98F7-C023-BC93-0B06AAB4E0D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2326356"/>
            <a:ext cx="4286250" cy="8763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246D43CF-6990-3057-41B2-49E88DAA6C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330861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191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image right blu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F6B1D54-B5EC-EDAE-003E-6134466F2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627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6B1D54-B5EC-EDAE-003E-6134466F2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D194ECB-CC32-B9E9-A61F-B149814AF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DF6F4B-1697-75DD-0D00-8453E80EECC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987" y="1484312"/>
            <a:ext cx="7488238" cy="4897438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0C577D-249B-E34D-F4DD-C4866A7E8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90E1999-4726-4600-8B88-4A7F5C00CB35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F4C4EE-018F-91D7-2A63-2D3B5AF22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17D222D-8F33-4C88-A6E6-06BD1C7F21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>
                <a:solidFill>
                  <a:schemeClr val="accent3"/>
                </a:solidFill>
              </a:defRPr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45FD5F3D-C999-9160-E266-789991D24C16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sp>
        <p:nvSpPr>
          <p:cNvPr id="36" name="Bildplatzhalter 35">
            <a:extLst>
              <a:ext uri="{FF2B5EF4-FFF2-40B4-BE49-F238E27FC236}">
                <a16:creationId xmlns:a16="http://schemas.microsoft.com/office/drawing/2014/main" id="{2C0C633A-6EA5-DF36-9AE4-EA89978EDF2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83563" y="1484314"/>
            <a:ext cx="3600447" cy="4897436"/>
          </a:xfrm>
          <a:custGeom>
            <a:avLst/>
            <a:gdLst>
              <a:gd name="connsiteX0" fmla="*/ 285669 w 3600447"/>
              <a:gd name="connsiteY0" fmla="*/ 0 h 4897436"/>
              <a:gd name="connsiteX1" fmla="*/ 382107 w 3600447"/>
              <a:gd name="connsiteY1" fmla="*/ 0 h 4897436"/>
              <a:gd name="connsiteX2" fmla="*/ 3218340 w 3600447"/>
              <a:gd name="connsiteY2" fmla="*/ 0 h 4897436"/>
              <a:gd name="connsiteX3" fmla="*/ 3314778 w 3600447"/>
              <a:gd name="connsiteY3" fmla="*/ 0 h 4897436"/>
              <a:gd name="connsiteX4" fmla="*/ 3600447 w 3600447"/>
              <a:gd name="connsiteY4" fmla="*/ 285669 h 4897436"/>
              <a:gd name="connsiteX5" fmla="*/ 3600447 w 3600447"/>
              <a:gd name="connsiteY5" fmla="*/ 1935761 h 4897436"/>
              <a:gd name="connsiteX6" fmla="*/ 3600447 w 3600447"/>
              <a:gd name="connsiteY6" fmla="*/ 2961675 h 4897436"/>
              <a:gd name="connsiteX7" fmla="*/ 3600447 w 3600447"/>
              <a:gd name="connsiteY7" fmla="*/ 4611767 h 4897436"/>
              <a:gd name="connsiteX8" fmla="*/ 3314778 w 3600447"/>
              <a:gd name="connsiteY8" fmla="*/ 4897436 h 4897436"/>
              <a:gd name="connsiteX9" fmla="*/ 3218340 w 3600447"/>
              <a:gd name="connsiteY9" fmla="*/ 4897436 h 4897436"/>
              <a:gd name="connsiteX10" fmla="*/ 382107 w 3600447"/>
              <a:gd name="connsiteY10" fmla="*/ 4897436 h 4897436"/>
              <a:gd name="connsiteX11" fmla="*/ 285669 w 3600447"/>
              <a:gd name="connsiteY11" fmla="*/ 4897436 h 4897436"/>
              <a:gd name="connsiteX12" fmla="*/ 0 w 3600447"/>
              <a:gd name="connsiteY12" fmla="*/ 4611767 h 4897436"/>
              <a:gd name="connsiteX13" fmla="*/ 0 w 3600447"/>
              <a:gd name="connsiteY13" fmla="*/ 2961675 h 4897436"/>
              <a:gd name="connsiteX14" fmla="*/ 0 w 3600447"/>
              <a:gd name="connsiteY14" fmla="*/ 1935761 h 4897436"/>
              <a:gd name="connsiteX15" fmla="*/ 0 w 3600447"/>
              <a:gd name="connsiteY15" fmla="*/ 285669 h 4897436"/>
              <a:gd name="connsiteX16" fmla="*/ 285669 w 3600447"/>
              <a:gd name="connsiteY16" fmla="*/ 0 h 4897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00447" h="4897436">
                <a:moveTo>
                  <a:pt x="285669" y="0"/>
                </a:moveTo>
                <a:lnTo>
                  <a:pt x="382107" y="0"/>
                </a:lnTo>
                <a:lnTo>
                  <a:pt x="3218340" y="0"/>
                </a:lnTo>
                <a:lnTo>
                  <a:pt x="3314778" y="0"/>
                </a:lnTo>
                <a:cubicBezTo>
                  <a:pt x="3472549" y="0"/>
                  <a:pt x="3600447" y="127898"/>
                  <a:pt x="3600447" y="285669"/>
                </a:cubicBezTo>
                <a:lnTo>
                  <a:pt x="3600447" y="1935761"/>
                </a:lnTo>
                <a:lnTo>
                  <a:pt x="3600447" y="2961675"/>
                </a:lnTo>
                <a:lnTo>
                  <a:pt x="3600447" y="4611767"/>
                </a:lnTo>
                <a:cubicBezTo>
                  <a:pt x="3600447" y="4769538"/>
                  <a:pt x="3472549" y="4897436"/>
                  <a:pt x="3314778" y="4897436"/>
                </a:cubicBezTo>
                <a:lnTo>
                  <a:pt x="3218340" y="4897436"/>
                </a:lnTo>
                <a:lnTo>
                  <a:pt x="382107" y="4897436"/>
                </a:lnTo>
                <a:lnTo>
                  <a:pt x="285669" y="4897436"/>
                </a:lnTo>
                <a:cubicBezTo>
                  <a:pt x="127898" y="4897436"/>
                  <a:pt x="0" y="4769538"/>
                  <a:pt x="0" y="4611767"/>
                </a:cubicBezTo>
                <a:lnTo>
                  <a:pt x="0" y="2961675"/>
                </a:lnTo>
                <a:lnTo>
                  <a:pt x="0" y="1935761"/>
                </a:lnTo>
                <a:lnTo>
                  <a:pt x="0" y="285669"/>
                </a:lnTo>
                <a:cubicBezTo>
                  <a:pt x="0" y="127898"/>
                  <a:pt x="127898" y="0"/>
                  <a:pt x="28566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CA"/>
          </a:p>
        </p:txBody>
      </p:sp>
      <p:grpSp>
        <p:nvGrpSpPr>
          <p:cNvPr id="7" name="Gruppieren 14">
            <a:extLst>
              <a:ext uri="{FF2B5EF4-FFF2-40B4-BE49-F238E27FC236}">
                <a16:creationId xmlns:a16="http://schemas.microsoft.com/office/drawing/2014/main" id="{D844E581-8234-D94E-9F93-04E4CDDFA791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91E9B220-D7B8-FBBA-02F6-FDB0D7BBC4E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5" name="Rectangle 8">
              <a:extLst>
                <a:ext uri="{FF2B5EF4-FFF2-40B4-BE49-F238E27FC236}">
                  <a16:creationId xmlns:a16="http://schemas.microsoft.com/office/drawing/2014/main" id="{95AB0A1C-9628-7E43-A11A-89D7DDE07585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Rectangle 9">
              <a:extLst>
                <a:ext uri="{FF2B5EF4-FFF2-40B4-BE49-F238E27FC236}">
                  <a16:creationId xmlns:a16="http://schemas.microsoft.com/office/drawing/2014/main" id="{1F278A97-E83F-B840-CB43-5BDE07285B1D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F2779BD5-2117-6D4E-94D2-EFCA970C362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79F8543C-7777-9CE2-3CCA-9CE476E4F7A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13ACF91D-0022-393C-9E23-D4AE78AE395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4334FDFC-4F3D-8BFB-284F-7C0A4585734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83D8E13A-1372-B620-6DC9-D345BF1395A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3" name="Freeform 15">
              <a:extLst>
                <a:ext uri="{FF2B5EF4-FFF2-40B4-BE49-F238E27FC236}">
                  <a16:creationId xmlns:a16="http://schemas.microsoft.com/office/drawing/2014/main" id="{581DBF55-3F76-0F5D-8069-ADDB8F9F7BF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6">
              <a:extLst>
                <a:ext uri="{FF2B5EF4-FFF2-40B4-BE49-F238E27FC236}">
                  <a16:creationId xmlns:a16="http://schemas.microsoft.com/office/drawing/2014/main" id="{DE9FAA88-967B-3AD6-D32D-B9308E9AF9D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0A32DBEB-6048-F95C-7B47-54213791FB4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18">
              <a:extLst>
                <a:ext uri="{FF2B5EF4-FFF2-40B4-BE49-F238E27FC236}">
                  <a16:creationId xmlns:a16="http://schemas.microsoft.com/office/drawing/2014/main" id="{AEB26AC3-78E7-DF40-4B34-58409D24F2D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7" name="Freeform 19">
              <a:extLst>
                <a:ext uri="{FF2B5EF4-FFF2-40B4-BE49-F238E27FC236}">
                  <a16:creationId xmlns:a16="http://schemas.microsoft.com/office/drawing/2014/main" id="{177172D7-60F9-5D62-4771-5D606FF7A19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20">
              <a:extLst>
                <a:ext uri="{FF2B5EF4-FFF2-40B4-BE49-F238E27FC236}">
                  <a16:creationId xmlns:a16="http://schemas.microsoft.com/office/drawing/2014/main" id="{E5A0B2F9-52DE-3655-96B6-9D7B22E559D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21">
              <a:extLst>
                <a:ext uri="{FF2B5EF4-FFF2-40B4-BE49-F238E27FC236}">
                  <a16:creationId xmlns:a16="http://schemas.microsoft.com/office/drawing/2014/main" id="{C027D7F8-708C-9A9A-1DEC-8EB36C05225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22">
              <a:extLst>
                <a:ext uri="{FF2B5EF4-FFF2-40B4-BE49-F238E27FC236}">
                  <a16:creationId xmlns:a16="http://schemas.microsoft.com/office/drawing/2014/main" id="{C4A7AE66-891D-7CCB-2E8C-AC0DA3682FA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3">
              <a:extLst>
                <a:ext uri="{FF2B5EF4-FFF2-40B4-BE49-F238E27FC236}">
                  <a16:creationId xmlns:a16="http://schemas.microsoft.com/office/drawing/2014/main" id="{E86A748D-A07F-9320-0559-09C2252BDCA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4">
              <a:extLst>
                <a:ext uri="{FF2B5EF4-FFF2-40B4-BE49-F238E27FC236}">
                  <a16:creationId xmlns:a16="http://schemas.microsoft.com/office/drawing/2014/main" id="{93062AD5-1708-C2A9-1B18-45E877EECF3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25">
              <a:extLst>
                <a:ext uri="{FF2B5EF4-FFF2-40B4-BE49-F238E27FC236}">
                  <a16:creationId xmlns:a16="http://schemas.microsoft.com/office/drawing/2014/main" id="{57D71934-A725-1ECC-F245-AE423CC23F9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26">
              <a:extLst>
                <a:ext uri="{FF2B5EF4-FFF2-40B4-BE49-F238E27FC236}">
                  <a16:creationId xmlns:a16="http://schemas.microsoft.com/office/drawing/2014/main" id="{F6B0E021-D000-1236-A575-A760B9B32C9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27">
              <a:extLst>
                <a:ext uri="{FF2B5EF4-FFF2-40B4-BE49-F238E27FC236}">
                  <a16:creationId xmlns:a16="http://schemas.microsoft.com/office/drawing/2014/main" id="{0E690994-13B0-3077-B0D1-C90640DC2C3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6" name="Freeform 28">
              <a:extLst>
                <a:ext uri="{FF2B5EF4-FFF2-40B4-BE49-F238E27FC236}">
                  <a16:creationId xmlns:a16="http://schemas.microsoft.com/office/drawing/2014/main" id="{C7FCDEE5-C799-86E6-2F4C-DCE74526AA4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29">
              <a:extLst>
                <a:ext uri="{FF2B5EF4-FFF2-40B4-BE49-F238E27FC236}">
                  <a16:creationId xmlns:a16="http://schemas.microsoft.com/office/drawing/2014/main" id="{F5F09C05-A3B1-4C26-E95D-15AC7D783B7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12" name="Rechteck 44">
            <a:extLst>
              <a:ext uri="{FF2B5EF4-FFF2-40B4-BE49-F238E27FC236}">
                <a16:creationId xmlns:a16="http://schemas.microsoft.com/office/drawing/2014/main" id="{56BC4D8C-9FE3-B2E8-F702-E93A84906CE2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14701DC-C0A4-4BAD-B540-56A4677DCB8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1926306"/>
            <a:ext cx="4286250" cy="8763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9B5A2E3-524A-F5A6-1200-849A57467FB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290856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33067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mage lef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F6B1D54-B5EC-EDAE-003E-6134466F2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0649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6B1D54-B5EC-EDAE-003E-6134466F2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9479C4F-FDCA-30FF-709F-81A00CD7238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91" y="1484314"/>
            <a:ext cx="3600447" cy="4897436"/>
          </a:xfrm>
          <a:custGeom>
            <a:avLst/>
            <a:gdLst>
              <a:gd name="connsiteX0" fmla="*/ 285669 w 3600447"/>
              <a:gd name="connsiteY0" fmla="*/ 0 h 4897436"/>
              <a:gd name="connsiteX1" fmla="*/ 382107 w 3600447"/>
              <a:gd name="connsiteY1" fmla="*/ 0 h 4897436"/>
              <a:gd name="connsiteX2" fmla="*/ 3218340 w 3600447"/>
              <a:gd name="connsiteY2" fmla="*/ 0 h 4897436"/>
              <a:gd name="connsiteX3" fmla="*/ 3314778 w 3600447"/>
              <a:gd name="connsiteY3" fmla="*/ 0 h 4897436"/>
              <a:gd name="connsiteX4" fmla="*/ 3600447 w 3600447"/>
              <a:gd name="connsiteY4" fmla="*/ 285669 h 4897436"/>
              <a:gd name="connsiteX5" fmla="*/ 3600447 w 3600447"/>
              <a:gd name="connsiteY5" fmla="*/ 1935761 h 4897436"/>
              <a:gd name="connsiteX6" fmla="*/ 3600447 w 3600447"/>
              <a:gd name="connsiteY6" fmla="*/ 2961675 h 4897436"/>
              <a:gd name="connsiteX7" fmla="*/ 3600447 w 3600447"/>
              <a:gd name="connsiteY7" fmla="*/ 4611767 h 4897436"/>
              <a:gd name="connsiteX8" fmla="*/ 3314778 w 3600447"/>
              <a:gd name="connsiteY8" fmla="*/ 4897436 h 4897436"/>
              <a:gd name="connsiteX9" fmla="*/ 3218340 w 3600447"/>
              <a:gd name="connsiteY9" fmla="*/ 4897436 h 4897436"/>
              <a:gd name="connsiteX10" fmla="*/ 382107 w 3600447"/>
              <a:gd name="connsiteY10" fmla="*/ 4897436 h 4897436"/>
              <a:gd name="connsiteX11" fmla="*/ 285669 w 3600447"/>
              <a:gd name="connsiteY11" fmla="*/ 4897436 h 4897436"/>
              <a:gd name="connsiteX12" fmla="*/ 0 w 3600447"/>
              <a:gd name="connsiteY12" fmla="*/ 4611767 h 4897436"/>
              <a:gd name="connsiteX13" fmla="*/ 0 w 3600447"/>
              <a:gd name="connsiteY13" fmla="*/ 2961675 h 4897436"/>
              <a:gd name="connsiteX14" fmla="*/ 0 w 3600447"/>
              <a:gd name="connsiteY14" fmla="*/ 1935761 h 4897436"/>
              <a:gd name="connsiteX15" fmla="*/ 0 w 3600447"/>
              <a:gd name="connsiteY15" fmla="*/ 285669 h 4897436"/>
              <a:gd name="connsiteX16" fmla="*/ 285669 w 3600447"/>
              <a:gd name="connsiteY16" fmla="*/ 0 h 4897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00447" h="4897436">
                <a:moveTo>
                  <a:pt x="285669" y="0"/>
                </a:moveTo>
                <a:lnTo>
                  <a:pt x="382107" y="0"/>
                </a:lnTo>
                <a:lnTo>
                  <a:pt x="3218340" y="0"/>
                </a:lnTo>
                <a:lnTo>
                  <a:pt x="3314778" y="0"/>
                </a:lnTo>
                <a:cubicBezTo>
                  <a:pt x="3472549" y="0"/>
                  <a:pt x="3600447" y="127898"/>
                  <a:pt x="3600447" y="285669"/>
                </a:cubicBezTo>
                <a:lnTo>
                  <a:pt x="3600447" y="1935761"/>
                </a:lnTo>
                <a:lnTo>
                  <a:pt x="3600447" y="2961675"/>
                </a:lnTo>
                <a:lnTo>
                  <a:pt x="3600447" y="4611767"/>
                </a:lnTo>
                <a:cubicBezTo>
                  <a:pt x="3600447" y="4769538"/>
                  <a:pt x="3472549" y="4897436"/>
                  <a:pt x="3314778" y="4897436"/>
                </a:cubicBezTo>
                <a:lnTo>
                  <a:pt x="3218340" y="4897436"/>
                </a:lnTo>
                <a:lnTo>
                  <a:pt x="382107" y="4897436"/>
                </a:lnTo>
                <a:lnTo>
                  <a:pt x="285669" y="4897436"/>
                </a:lnTo>
                <a:cubicBezTo>
                  <a:pt x="127898" y="4897436"/>
                  <a:pt x="0" y="4769538"/>
                  <a:pt x="0" y="4611767"/>
                </a:cubicBezTo>
                <a:lnTo>
                  <a:pt x="0" y="2961675"/>
                </a:lnTo>
                <a:lnTo>
                  <a:pt x="0" y="1935761"/>
                </a:lnTo>
                <a:lnTo>
                  <a:pt x="0" y="285669"/>
                </a:lnTo>
                <a:cubicBezTo>
                  <a:pt x="0" y="127898"/>
                  <a:pt x="127898" y="0"/>
                  <a:pt x="28566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CA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D194ECB-CC32-B9E9-A61F-B149814AF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DF6F4B-1697-75DD-0D00-8453E80EECC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5771" y="1484312"/>
            <a:ext cx="7488238" cy="4897438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0C577D-249B-E34D-F4DD-C4866A7E8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0E1999-4726-4600-8B88-4A7F5C00CB35}" type="datetime1">
              <a:rPr lang="de-DE" smtClean="0"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F4C4EE-018F-91D7-2A63-2D3B5AF22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17D222D-8F33-4C88-A6E6-06BD1C7F21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/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11" name="Rechteck 44">
            <a:extLst>
              <a:ext uri="{FF2B5EF4-FFF2-40B4-BE49-F238E27FC236}">
                <a16:creationId xmlns:a16="http://schemas.microsoft.com/office/drawing/2014/main" id="{F1B378EF-BFC2-36C7-62BE-BBE91D713BC7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CE1B0EB-A442-129A-ADB3-CF797979FF9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2326356"/>
            <a:ext cx="4286250" cy="8763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78FC0CA-5709-8F6B-54AD-A2C43C18B4D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330861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1107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image left blu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F6B1D54-B5EC-EDAE-003E-6134466F2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627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6B1D54-B5EC-EDAE-003E-6134466F2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D194ECB-CC32-B9E9-A61F-B149814AF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DF6F4B-1697-75DD-0D00-8453E80EECC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5775" y="1484312"/>
            <a:ext cx="7488238" cy="4897438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0C577D-249B-E34D-F4DD-C4866A7E8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90E1999-4726-4600-8B88-4A7F5C00CB35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F4C4EE-018F-91D7-2A63-2D3B5AF22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17D222D-8F33-4C88-A6E6-06BD1C7F21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>
                <a:solidFill>
                  <a:schemeClr val="accent3"/>
                </a:solidFill>
              </a:defRPr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45FD5F3D-C999-9160-E266-789991D24C16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sp>
        <p:nvSpPr>
          <p:cNvPr id="36" name="Bildplatzhalter 35">
            <a:extLst>
              <a:ext uri="{FF2B5EF4-FFF2-40B4-BE49-F238E27FC236}">
                <a16:creationId xmlns:a16="http://schemas.microsoft.com/office/drawing/2014/main" id="{2C0C633A-6EA5-DF36-9AE4-EA89978EDF2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12758" y="1484314"/>
            <a:ext cx="3600447" cy="4897436"/>
          </a:xfrm>
          <a:custGeom>
            <a:avLst/>
            <a:gdLst>
              <a:gd name="connsiteX0" fmla="*/ 285669 w 3600447"/>
              <a:gd name="connsiteY0" fmla="*/ 0 h 4897436"/>
              <a:gd name="connsiteX1" fmla="*/ 382107 w 3600447"/>
              <a:gd name="connsiteY1" fmla="*/ 0 h 4897436"/>
              <a:gd name="connsiteX2" fmla="*/ 3218340 w 3600447"/>
              <a:gd name="connsiteY2" fmla="*/ 0 h 4897436"/>
              <a:gd name="connsiteX3" fmla="*/ 3314778 w 3600447"/>
              <a:gd name="connsiteY3" fmla="*/ 0 h 4897436"/>
              <a:gd name="connsiteX4" fmla="*/ 3600447 w 3600447"/>
              <a:gd name="connsiteY4" fmla="*/ 285669 h 4897436"/>
              <a:gd name="connsiteX5" fmla="*/ 3600447 w 3600447"/>
              <a:gd name="connsiteY5" fmla="*/ 1935761 h 4897436"/>
              <a:gd name="connsiteX6" fmla="*/ 3600447 w 3600447"/>
              <a:gd name="connsiteY6" fmla="*/ 2961675 h 4897436"/>
              <a:gd name="connsiteX7" fmla="*/ 3600447 w 3600447"/>
              <a:gd name="connsiteY7" fmla="*/ 4611767 h 4897436"/>
              <a:gd name="connsiteX8" fmla="*/ 3314778 w 3600447"/>
              <a:gd name="connsiteY8" fmla="*/ 4897436 h 4897436"/>
              <a:gd name="connsiteX9" fmla="*/ 3218340 w 3600447"/>
              <a:gd name="connsiteY9" fmla="*/ 4897436 h 4897436"/>
              <a:gd name="connsiteX10" fmla="*/ 382107 w 3600447"/>
              <a:gd name="connsiteY10" fmla="*/ 4897436 h 4897436"/>
              <a:gd name="connsiteX11" fmla="*/ 285669 w 3600447"/>
              <a:gd name="connsiteY11" fmla="*/ 4897436 h 4897436"/>
              <a:gd name="connsiteX12" fmla="*/ 0 w 3600447"/>
              <a:gd name="connsiteY12" fmla="*/ 4611767 h 4897436"/>
              <a:gd name="connsiteX13" fmla="*/ 0 w 3600447"/>
              <a:gd name="connsiteY13" fmla="*/ 2961675 h 4897436"/>
              <a:gd name="connsiteX14" fmla="*/ 0 w 3600447"/>
              <a:gd name="connsiteY14" fmla="*/ 1935761 h 4897436"/>
              <a:gd name="connsiteX15" fmla="*/ 0 w 3600447"/>
              <a:gd name="connsiteY15" fmla="*/ 285669 h 4897436"/>
              <a:gd name="connsiteX16" fmla="*/ 285669 w 3600447"/>
              <a:gd name="connsiteY16" fmla="*/ 0 h 4897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00447" h="4897436">
                <a:moveTo>
                  <a:pt x="285669" y="0"/>
                </a:moveTo>
                <a:lnTo>
                  <a:pt x="382107" y="0"/>
                </a:lnTo>
                <a:lnTo>
                  <a:pt x="3218340" y="0"/>
                </a:lnTo>
                <a:lnTo>
                  <a:pt x="3314778" y="0"/>
                </a:lnTo>
                <a:cubicBezTo>
                  <a:pt x="3472549" y="0"/>
                  <a:pt x="3600447" y="127898"/>
                  <a:pt x="3600447" y="285669"/>
                </a:cubicBezTo>
                <a:lnTo>
                  <a:pt x="3600447" y="1935761"/>
                </a:lnTo>
                <a:lnTo>
                  <a:pt x="3600447" y="2961675"/>
                </a:lnTo>
                <a:lnTo>
                  <a:pt x="3600447" y="4611767"/>
                </a:lnTo>
                <a:cubicBezTo>
                  <a:pt x="3600447" y="4769538"/>
                  <a:pt x="3472549" y="4897436"/>
                  <a:pt x="3314778" y="4897436"/>
                </a:cubicBezTo>
                <a:lnTo>
                  <a:pt x="3218340" y="4897436"/>
                </a:lnTo>
                <a:lnTo>
                  <a:pt x="382107" y="4897436"/>
                </a:lnTo>
                <a:lnTo>
                  <a:pt x="285669" y="4897436"/>
                </a:lnTo>
                <a:cubicBezTo>
                  <a:pt x="127898" y="4897436"/>
                  <a:pt x="0" y="4769538"/>
                  <a:pt x="0" y="4611767"/>
                </a:cubicBezTo>
                <a:lnTo>
                  <a:pt x="0" y="2961675"/>
                </a:lnTo>
                <a:lnTo>
                  <a:pt x="0" y="1935761"/>
                </a:lnTo>
                <a:lnTo>
                  <a:pt x="0" y="285669"/>
                </a:lnTo>
                <a:cubicBezTo>
                  <a:pt x="0" y="127898"/>
                  <a:pt x="127898" y="0"/>
                  <a:pt x="28566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CA"/>
          </a:p>
        </p:txBody>
      </p:sp>
      <p:grpSp>
        <p:nvGrpSpPr>
          <p:cNvPr id="7" name="Gruppieren 14">
            <a:extLst>
              <a:ext uri="{FF2B5EF4-FFF2-40B4-BE49-F238E27FC236}">
                <a16:creationId xmlns:a16="http://schemas.microsoft.com/office/drawing/2014/main" id="{91B323F1-4715-CFC3-807E-239EE9263EEC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872D97ED-F73E-1186-9798-C3CF27D7A8C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5" name="Rectangle 8">
              <a:extLst>
                <a:ext uri="{FF2B5EF4-FFF2-40B4-BE49-F238E27FC236}">
                  <a16:creationId xmlns:a16="http://schemas.microsoft.com/office/drawing/2014/main" id="{E6F5F1F3-EE93-DDAA-CBBA-6269AE7D82D4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Rectangle 9">
              <a:extLst>
                <a:ext uri="{FF2B5EF4-FFF2-40B4-BE49-F238E27FC236}">
                  <a16:creationId xmlns:a16="http://schemas.microsoft.com/office/drawing/2014/main" id="{0D26AEB2-3A52-AA11-5E7F-74B5C33CA639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9D48FF9E-F4D7-10DB-E523-5306B72CC8C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E5DB7D4C-B37F-5DDB-541C-A999CB8A379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719C98EF-E86D-4796-0EC8-51FAFAB749F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E17DDF5D-C814-6DF2-D434-3FAFA595382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5F7A2C3A-68AA-62B4-7238-59776858333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3" name="Freeform 15">
              <a:extLst>
                <a:ext uri="{FF2B5EF4-FFF2-40B4-BE49-F238E27FC236}">
                  <a16:creationId xmlns:a16="http://schemas.microsoft.com/office/drawing/2014/main" id="{8C81D452-0084-23ED-8650-369F1F6847E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6">
              <a:extLst>
                <a:ext uri="{FF2B5EF4-FFF2-40B4-BE49-F238E27FC236}">
                  <a16:creationId xmlns:a16="http://schemas.microsoft.com/office/drawing/2014/main" id="{F101A09B-BEF2-8225-C637-5A41059E161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99DA4316-8E12-8903-2B1F-4451D777E50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18">
              <a:extLst>
                <a:ext uri="{FF2B5EF4-FFF2-40B4-BE49-F238E27FC236}">
                  <a16:creationId xmlns:a16="http://schemas.microsoft.com/office/drawing/2014/main" id="{EBE6D0E7-C69D-C3CF-D0C7-BAB2BECC23C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7" name="Freeform 19">
              <a:extLst>
                <a:ext uri="{FF2B5EF4-FFF2-40B4-BE49-F238E27FC236}">
                  <a16:creationId xmlns:a16="http://schemas.microsoft.com/office/drawing/2014/main" id="{90AC8359-138F-956E-7FA2-B6C7B8A747E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20">
              <a:extLst>
                <a:ext uri="{FF2B5EF4-FFF2-40B4-BE49-F238E27FC236}">
                  <a16:creationId xmlns:a16="http://schemas.microsoft.com/office/drawing/2014/main" id="{E317DFFE-CAB6-D753-96E5-119BA656B3C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21">
              <a:extLst>
                <a:ext uri="{FF2B5EF4-FFF2-40B4-BE49-F238E27FC236}">
                  <a16:creationId xmlns:a16="http://schemas.microsoft.com/office/drawing/2014/main" id="{96BBCB4E-5B7C-A313-5835-F441F43B778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22">
              <a:extLst>
                <a:ext uri="{FF2B5EF4-FFF2-40B4-BE49-F238E27FC236}">
                  <a16:creationId xmlns:a16="http://schemas.microsoft.com/office/drawing/2014/main" id="{FF3EA0D5-01ED-7015-6A74-728EBDEACA3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3">
              <a:extLst>
                <a:ext uri="{FF2B5EF4-FFF2-40B4-BE49-F238E27FC236}">
                  <a16:creationId xmlns:a16="http://schemas.microsoft.com/office/drawing/2014/main" id="{264BB21C-9235-2148-BD14-551485E50C9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4">
              <a:extLst>
                <a:ext uri="{FF2B5EF4-FFF2-40B4-BE49-F238E27FC236}">
                  <a16:creationId xmlns:a16="http://schemas.microsoft.com/office/drawing/2014/main" id="{260BEC4F-F089-FF3D-88A7-EF5FE0FA8F6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25">
              <a:extLst>
                <a:ext uri="{FF2B5EF4-FFF2-40B4-BE49-F238E27FC236}">
                  <a16:creationId xmlns:a16="http://schemas.microsoft.com/office/drawing/2014/main" id="{47464F79-E667-E917-0ADF-73287F4940E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26">
              <a:extLst>
                <a:ext uri="{FF2B5EF4-FFF2-40B4-BE49-F238E27FC236}">
                  <a16:creationId xmlns:a16="http://schemas.microsoft.com/office/drawing/2014/main" id="{E3E7007D-70DC-23F0-CE9F-93CD9E17A74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27">
              <a:extLst>
                <a:ext uri="{FF2B5EF4-FFF2-40B4-BE49-F238E27FC236}">
                  <a16:creationId xmlns:a16="http://schemas.microsoft.com/office/drawing/2014/main" id="{33995CED-F315-0E08-4DC8-4EF412A1DC3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6" name="Freeform 28">
              <a:extLst>
                <a:ext uri="{FF2B5EF4-FFF2-40B4-BE49-F238E27FC236}">
                  <a16:creationId xmlns:a16="http://schemas.microsoft.com/office/drawing/2014/main" id="{9F7DA2BD-3335-61F5-B63F-3B7240CF25C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29">
              <a:extLst>
                <a:ext uri="{FF2B5EF4-FFF2-40B4-BE49-F238E27FC236}">
                  <a16:creationId xmlns:a16="http://schemas.microsoft.com/office/drawing/2014/main" id="{0DC7AC69-5AA5-DE03-8BBA-729AF85BB7A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12" name="Rechteck 44">
            <a:extLst>
              <a:ext uri="{FF2B5EF4-FFF2-40B4-BE49-F238E27FC236}">
                <a16:creationId xmlns:a16="http://schemas.microsoft.com/office/drawing/2014/main" id="{C2FA5ACE-2754-522A-FE67-17A5F8A5E29C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1757741-60B7-D1CF-D1BE-D76C8EDDB7C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1926306"/>
            <a:ext cx="4286250" cy="8763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CA3098D-46DD-E0C1-C45E-174BDFAE853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290856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7140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mage righ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F6B1D54-B5EC-EDAE-003E-6134466F2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6385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6B1D54-B5EC-EDAE-003E-6134466F2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BE8AC1E-D077-8096-E2FE-BF266A43AF0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40463" y="1484314"/>
            <a:ext cx="5543547" cy="4897436"/>
          </a:xfrm>
          <a:custGeom>
            <a:avLst/>
            <a:gdLst>
              <a:gd name="connsiteX0" fmla="*/ 285669 w 5543547"/>
              <a:gd name="connsiteY0" fmla="*/ 0 h 4897436"/>
              <a:gd name="connsiteX1" fmla="*/ 357203 w 5543547"/>
              <a:gd name="connsiteY1" fmla="*/ 0 h 4897436"/>
              <a:gd name="connsiteX2" fmla="*/ 2253673 w 5543547"/>
              <a:gd name="connsiteY2" fmla="*/ 0 h 4897436"/>
              <a:gd name="connsiteX3" fmla="*/ 2325207 w 5543547"/>
              <a:gd name="connsiteY3" fmla="*/ 0 h 4897436"/>
              <a:gd name="connsiteX4" fmla="*/ 3218340 w 5543547"/>
              <a:gd name="connsiteY4" fmla="*/ 0 h 4897436"/>
              <a:gd name="connsiteX5" fmla="*/ 3289874 w 5543547"/>
              <a:gd name="connsiteY5" fmla="*/ 0 h 4897436"/>
              <a:gd name="connsiteX6" fmla="*/ 5186344 w 5543547"/>
              <a:gd name="connsiteY6" fmla="*/ 0 h 4897436"/>
              <a:gd name="connsiteX7" fmla="*/ 5257878 w 5543547"/>
              <a:gd name="connsiteY7" fmla="*/ 0 h 4897436"/>
              <a:gd name="connsiteX8" fmla="*/ 5543547 w 5543547"/>
              <a:gd name="connsiteY8" fmla="*/ 285669 h 4897436"/>
              <a:gd name="connsiteX9" fmla="*/ 5543547 w 5543547"/>
              <a:gd name="connsiteY9" fmla="*/ 1935761 h 4897436"/>
              <a:gd name="connsiteX10" fmla="*/ 5543547 w 5543547"/>
              <a:gd name="connsiteY10" fmla="*/ 2961675 h 4897436"/>
              <a:gd name="connsiteX11" fmla="*/ 5543547 w 5543547"/>
              <a:gd name="connsiteY11" fmla="*/ 4611767 h 4897436"/>
              <a:gd name="connsiteX12" fmla="*/ 5257878 w 5543547"/>
              <a:gd name="connsiteY12" fmla="*/ 4897436 h 4897436"/>
              <a:gd name="connsiteX13" fmla="*/ 5186344 w 5543547"/>
              <a:gd name="connsiteY13" fmla="*/ 4897436 h 4897436"/>
              <a:gd name="connsiteX14" fmla="*/ 3289874 w 5543547"/>
              <a:gd name="connsiteY14" fmla="*/ 4897436 h 4897436"/>
              <a:gd name="connsiteX15" fmla="*/ 3218340 w 5543547"/>
              <a:gd name="connsiteY15" fmla="*/ 4897436 h 4897436"/>
              <a:gd name="connsiteX16" fmla="*/ 2325207 w 5543547"/>
              <a:gd name="connsiteY16" fmla="*/ 4897436 h 4897436"/>
              <a:gd name="connsiteX17" fmla="*/ 2253673 w 5543547"/>
              <a:gd name="connsiteY17" fmla="*/ 4897436 h 4897436"/>
              <a:gd name="connsiteX18" fmla="*/ 357203 w 5543547"/>
              <a:gd name="connsiteY18" fmla="*/ 4897436 h 4897436"/>
              <a:gd name="connsiteX19" fmla="*/ 285669 w 5543547"/>
              <a:gd name="connsiteY19" fmla="*/ 4897436 h 4897436"/>
              <a:gd name="connsiteX20" fmla="*/ 0 w 5543547"/>
              <a:gd name="connsiteY20" fmla="*/ 4611767 h 4897436"/>
              <a:gd name="connsiteX21" fmla="*/ 0 w 5543547"/>
              <a:gd name="connsiteY21" fmla="*/ 2961675 h 4897436"/>
              <a:gd name="connsiteX22" fmla="*/ 0 w 5543547"/>
              <a:gd name="connsiteY22" fmla="*/ 1935761 h 4897436"/>
              <a:gd name="connsiteX23" fmla="*/ 0 w 5543547"/>
              <a:gd name="connsiteY23" fmla="*/ 285669 h 4897436"/>
              <a:gd name="connsiteX24" fmla="*/ 285669 w 5543547"/>
              <a:gd name="connsiteY24" fmla="*/ 0 h 4897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5543547" h="4897436">
                <a:moveTo>
                  <a:pt x="285669" y="0"/>
                </a:moveTo>
                <a:lnTo>
                  <a:pt x="357203" y="0"/>
                </a:lnTo>
                <a:lnTo>
                  <a:pt x="2253673" y="0"/>
                </a:lnTo>
                <a:lnTo>
                  <a:pt x="2325207" y="0"/>
                </a:lnTo>
                <a:lnTo>
                  <a:pt x="3218340" y="0"/>
                </a:lnTo>
                <a:lnTo>
                  <a:pt x="3289874" y="0"/>
                </a:lnTo>
                <a:lnTo>
                  <a:pt x="5186344" y="0"/>
                </a:lnTo>
                <a:lnTo>
                  <a:pt x="5257878" y="0"/>
                </a:lnTo>
                <a:cubicBezTo>
                  <a:pt x="5415649" y="0"/>
                  <a:pt x="5543547" y="127898"/>
                  <a:pt x="5543547" y="285669"/>
                </a:cubicBezTo>
                <a:lnTo>
                  <a:pt x="5543547" y="1935761"/>
                </a:lnTo>
                <a:lnTo>
                  <a:pt x="5543547" y="2961675"/>
                </a:lnTo>
                <a:lnTo>
                  <a:pt x="5543547" y="4611767"/>
                </a:lnTo>
                <a:cubicBezTo>
                  <a:pt x="5543547" y="4769538"/>
                  <a:pt x="5415649" y="4897436"/>
                  <a:pt x="5257878" y="4897436"/>
                </a:cubicBezTo>
                <a:lnTo>
                  <a:pt x="5186344" y="4897436"/>
                </a:lnTo>
                <a:lnTo>
                  <a:pt x="3289874" y="4897436"/>
                </a:lnTo>
                <a:lnTo>
                  <a:pt x="3218340" y="4897436"/>
                </a:lnTo>
                <a:lnTo>
                  <a:pt x="2325207" y="4897436"/>
                </a:lnTo>
                <a:lnTo>
                  <a:pt x="2253673" y="4897436"/>
                </a:lnTo>
                <a:lnTo>
                  <a:pt x="357203" y="4897436"/>
                </a:lnTo>
                <a:lnTo>
                  <a:pt x="285669" y="4897436"/>
                </a:lnTo>
                <a:cubicBezTo>
                  <a:pt x="127898" y="4897436"/>
                  <a:pt x="0" y="4769538"/>
                  <a:pt x="0" y="4611767"/>
                </a:cubicBezTo>
                <a:lnTo>
                  <a:pt x="0" y="2961675"/>
                </a:lnTo>
                <a:lnTo>
                  <a:pt x="0" y="1935761"/>
                </a:lnTo>
                <a:lnTo>
                  <a:pt x="0" y="285669"/>
                </a:lnTo>
                <a:cubicBezTo>
                  <a:pt x="0" y="127898"/>
                  <a:pt x="127898" y="0"/>
                  <a:pt x="28566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CA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D194ECB-CC32-B9E9-A61F-B149814AF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0C577D-249B-E34D-F4DD-C4866A7E8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6D119F-689D-4112-94EF-BACCDDBAD45A}" type="datetime1">
              <a:rPr lang="de-DE" smtClean="0"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F4C4EE-018F-91D7-2A63-2D3B5AF22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17D222D-8F33-4C88-A6E6-06BD1C7F21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/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421D3D73-D2B7-AB71-388C-060C689CC1BF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07987" y="1484314"/>
            <a:ext cx="5543547" cy="4897436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11" name="Rechteck 44">
            <a:extLst>
              <a:ext uri="{FF2B5EF4-FFF2-40B4-BE49-F238E27FC236}">
                <a16:creationId xmlns:a16="http://schemas.microsoft.com/office/drawing/2014/main" id="{A819DFAD-9DB4-726D-CAF3-634DA5122345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2D44134-15AD-9E3A-8815-A49A99201E5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2326356"/>
            <a:ext cx="4286250" cy="8763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047C130-BD99-1AE6-00AA-33F4B9F1B27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330861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95807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image right blu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F6B1D54-B5EC-EDAE-003E-6134466F2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9372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6B1D54-B5EC-EDAE-003E-6134466F2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D194ECB-CC32-B9E9-A61F-B149814AF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0C577D-249B-E34D-F4DD-C4866A7E8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26D119F-689D-4112-94EF-BACCDDBAD45A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F4C4EE-018F-91D7-2A63-2D3B5AF22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17D222D-8F33-4C88-A6E6-06BD1C7F21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>
                <a:solidFill>
                  <a:schemeClr val="accent3"/>
                </a:solidFill>
              </a:defRPr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421D3D73-D2B7-AB71-388C-060C689CC1BF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07987" y="1484314"/>
            <a:ext cx="5543551" cy="489743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99C993E6-920F-E52C-98EC-CB30E5FDD593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02F5428E-2F1A-8EB2-DA5B-8AFEAE2D96D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40463" y="1484314"/>
            <a:ext cx="5543547" cy="4897436"/>
          </a:xfrm>
          <a:custGeom>
            <a:avLst/>
            <a:gdLst>
              <a:gd name="connsiteX0" fmla="*/ 285669 w 5543547"/>
              <a:gd name="connsiteY0" fmla="*/ 0 h 4897436"/>
              <a:gd name="connsiteX1" fmla="*/ 357203 w 5543547"/>
              <a:gd name="connsiteY1" fmla="*/ 0 h 4897436"/>
              <a:gd name="connsiteX2" fmla="*/ 2253673 w 5543547"/>
              <a:gd name="connsiteY2" fmla="*/ 0 h 4897436"/>
              <a:gd name="connsiteX3" fmla="*/ 2325207 w 5543547"/>
              <a:gd name="connsiteY3" fmla="*/ 0 h 4897436"/>
              <a:gd name="connsiteX4" fmla="*/ 3218340 w 5543547"/>
              <a:gd name="connsiteY4" fmla="*/ 0 h 4897436"/>
              <a:gd name="connsiteX5" fmla="*/ 3289874 w 5543547"/>
              <a:gd name="connsiteY5" fmla="*/ 0 h 4897436"/>
              <a:gd name="connsiteX6" fmla="*/ 5186344 w 5543547"/>
              <a:gd name="connsiteY6" fmla="*/ 0 h 4897436"/>
              <a:gd name="connsiteX7" fmla="*/ 5257878 w 5543547"/>
              <a:gd name="connsiteY7" fmla="*/ 0 h 4897436"/>
              <a:gd name="connsiteX8" fmla="*/ 5543547 w 5543547"/>
              <a:gd name="connsiteY8" fmla="*/ 285669 h 4897436"/>
              <a:gd name="connsiteX9" fmla="*/ 5543547 w 5543547"/>
              <a:gd name="connsiteY9" fmla="*/ 1935761 h 4897436"/>
              <a:gd name="connsiteX10" fmla="*/ 5543547 w 5543547"/>
              <a:gd name="connsiteY10" fmla="*/ 2961675 h 4897436"/>
              <a:gd name="connsiteX11" fmla="*/ 5543547 w 5543547"/>
              <a:gd name="connsiteY11" fmla="*/ 4611767 h 4897436"/>
              <a:gd name="connsiteX12" fmla="*/ 5257878 w 5543547"/>
              <a:gd name="connsiteY12" fmla="*/ 4897436 h 4897436"/>
              <a:gd name="connsiteX13" fmla="*/ 5186344 w 5543547"/>
              <a:gd name="connsiteY13" fmla="*/ 4897436 h 4897436"/>
              <a:gd name="connsiteX14" fmla="*/ 3289874 w 5543547"/>
              <a:gd name="connsiteY14" fmla="*/ 4897436 h 4897436"/>
              <a:gd name="connsiteX15" fmla="*/ 3218340 w 5543547"/>
              <a:gd name="connsiteY15" fmla="*/ 4897436 h 4897436"/>
              <a:gd name="connsiteX16" fmla="*/ 2325207 w 5543547"/>
              <a:gd name="connsiteY16" fmla="*/ 4897436 h 4897436"/>
              <a:gd name="connsiteX17" fmla="*/ 2253673 w 5543547"/>
              <a:gd name="connsiteY17" fmla="*/ 4897436 h 4897436"/>
              <a:gd name="connsiteX18" fmla="*/ 357203 w 5543547"/>
              <a:gd name="connsiteY18" fmla="*/ 4897436 h 4897436"/>
              <a:gd name="connsiteX19" fmla="*/ 285669 w 5543547"/>
              <a:gd name="connsiteY19" fmla="*/ 4897436 h 4897436"/>
              <a:gd name="connsiteX20" fmla="*/ 0 w 5543547"/>
              <a:gd name="connsiteY20" fmla="*/ 4611767 h 4897436"/>
              <a:gd name="connsiteX21" fmla="*/ 0 w 5543547"/>
              <a:gd name="connsiteY21" fmla="*/ 2961675 h 4897436"/>
              <a:gd name="connsiteX22" fmla="*/ 0 w 5543547"/>
              <a:gd name="connsiteY22" fmla="*/ 1935761 h 4897436"/>
              <a:gd name="connsiteX23" fmla="*/ 0 w 5543547"/>
              <a:gd name="connsiteY23" fmla="*/ 285669 h 4897436"/>
              <a:gd name="connsiteX24" fmla="*/ 285669 w 5543547"/>
              <a:gd name="connsiteY24" fmla="*/ 0 h 4897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5543547" h="4897436">
                <a:moveTo>
                  <a:pt x="285669" y="0"/>
                </a:moveTo>
                <a:lnTo>
                  <a:pt x="357203" y="0"/>
                </a:lnTo>
                <a:lnTo>
                  <a:pt x="2253673" y="0"/>
                </a:lnTo>
                <a:lnTo>
                  <a:pt x="2325207" y="0"/>
                </a:lnTo>
                <a:lnTo>
                  <a:pt x="3218340" y="0"/>
                </a:lnTo>
                <a:lnTo>
                  <a:pt x="3289874" y="0"/>
                </a:lnTo>
                <a:lnTo>
                  <a:pt x="5186344" y="0"/>
                </a:lnTo>
                <a:lnTo>
                  <a:pt x="5257878" y="0"/>
                </a:lnTo>
                <a:cubicBezTo>
                  <a:pt x="5415649" y="0"/>
                  <a:pt x="5543547" y="127898"/>
                  <a:pt x="5543547" y="285669"/>
                </a:cubicBezTo>
                <a:lnTo>
                  <a:pt x="5543547" y="1935761"/>
                </a:lnTo>
                <a:lnTo>
                  <a:pt x="5543547" y="2961675"/>
                </a:lnTo>
                <a:lnTo>
                  <a:pt x="5543547" y="4611767"/>
                </a:lnTo>
                <a:cubicBezTo>
                  <a:pt x="5543547" y="4769538"/>
                  <a:pt x="5415649" y="4897436"/>
                  <a:pt x="5257878" y="4897436"/>
                </a:cubicBezTo>
                <a:lnTo>
                  <a:pt x="5186344" y="4897436"/>
                </a:lnTo>
                <a:lnTo>
                  <a:pt x="3289874" y="4897436"/>
                </a:lnTo>
                <a:lnTo>
                  <a:pt x="3218340" y="4897436"/>
                </a:lnTo>
                <a:lnTo>
                  <a:pt x="2325207" y="4897436"/>
                </a:lnTo>
                <a:lnTo>
                  <a:pt x="2253673" y="4897436"/>
                </a:lnTo>
                <a:lnTo>
                  <a:pt x="357203" y="4897436"/>
                </a:lnTo>
                <a:lnTo>
                  <a:pt x="285669" y="4897436"/>
                </a:lnTo>
                <a:cubicBezTo>
                  <a:pt x="127898" y="4897436"/>
                  <a:pt x="0" y="4769538"/>
                  <a:pt x="0" y="4611767"/>
                </a:cubicBezTo>
                <a:lnTo>
                  <a:pt x="0" y="2961675"/>
                </a:lnTo>
                <a:lnTo>
                  <a:pt x="0" y="1935761"/>
                </a:lnTo>
                <a:lnTo>
                  <a:pt x="0" y="285669"/>
                </a:lnTo>
                <a:cubicBezTo>
                  <a:pt x="0" y="127898"/>
                  <a:pt x="127898" y="0"/>
                  <a:pt x="28566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CA"/>
          </a:p>
        </p:txBody>
      </p:sp>
      <p:grpSp>
        <p:nvGrpSpPr>
          <p:cNvPr id="3" name="Gruppieren 14">
            <a:extLst>
              <a:ext uri="{FF2B5EF4-FFF2-40B4-BE49-F238E27FC236}">
                <a16:creationId xmlns:a16="http://schemas.microsoft.com/office/drawing/2014/main" id="{3A99825E-7B6A-E0FD-2901-88FF3E638C70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195E7989-B8C9-8878-4FAA-ED720035DA4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" name="Rectangle 8">
              <a:extLst>
                <a:ext uri="{FF2B5EF4-FFF2-40B4-BE49-F238E27FC236}">
                  <a16:creationId xmlns:a16="http://schemas.microsoft.com/office/drawing/2014/main" id="{FD298B1C-A085-7174-B5E3-9D42111FD3EC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6" name="Rectangle 9">
              <a:extLst>
                <a:ext uri="{FF2B5EF4-FFF2-40B4-BE49-F238E27FC236}">
                  <a16:creationId xmlns:a16="http://schemas.microsoft.com/office/drawing/2014/main" id="{B87B0C27-82AA-5941-9BE5-0B771C65D3F0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BBD12B44-732C-73DA-2BFD-644B5D8D9D7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8DED87BF-964E-352D-8C8A-B8B04B1396F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6CEA28DC-EC43-BB8A-1C9F-D1A1A2DCD45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DD9C1921-D721-920C-6F61-8774A285A2A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C38FEF6D-8648-5A42-ECD9-CED574B6B8E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3" name="Freeform 15">
              <a:extLst>
                <a:ext uri="{FF2B5EF4-FFF2-40B4-BE49-F238E27FC236}">
                  <a16:creationId xmlns:a16="http://schemas.microsoft.com/office/drawing/2014/main" id="{C45DE98A-55DE-8680-C428-971A58F739C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6">
              <a:extLst>
                <a:ext uri="{FF2B5EF4-FFF2-40B4-BE49-F238E27FC236}">
                  <a16:creationId xmlns:a16="http://schemas.microsoft.com/office/drawing/2014/main" id="{C761EBE5-3D53-FBE3-F57B-58342E93D21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FEEFA2AB-6AD6-4B7E-8886-8A029B28621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18">
              <a:extLst>
                <a:ext uri="{FF2B5EF4-FFF2-40B4-BE49-F238E27FC236}">
                  <a16:creationId xmlns:a16="http://schemas.microsoft.com/office/drawing/2014/main" id="{C92ABC53-E825-EC78-AD45-91A339AE373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7" name="Freeform 19">
              <a:extLst>
                <a:ext uri="{FF2B5EF4-FFF2-40B4-BE49-F238E27FC236}">
                  <a16:creationId xmlns:a16="http://schemas.microsoft.com/office/drawing/2014/main" id="{A83C0B1D-C043-014C-E3E6-DEA1A4F938B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20">
              <a:extLst>
                <a:ext uri="{FF2B5EF4-FFF2-40B4-BE49-F238E27FC236}">
                  <a16:creationId xmlns:a16="http://schemas.microsoft.com/office/drawing/2014/main" id="{C0D170F1-417D-4BCE-EDBD-EA90DCEE094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21">
              <a:extLst>
                <a:ext uri="{FF2B5EF4-FFF2-40B4-BE49-F238E27FC236}">
                  <a16:creationId xmlns:a16="http://schemas.microsoft.com/office/drawing/2014/main" id="{CDBC70D8-700C-EA9F-BC57-948F06A3F95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22">
              <a:extLst>
                <a:ext uri="{FF2B5EF4-FFF2-40B4-BE49-F238E27FC236}">
                  <a16:creationId xmlns:a16="http://schemas.microsoft.com/office/drawing/2014/main" id="{11E1FE9D-9352-7299-E61E-67061F0CC1A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3">
              <a:extLst>
                <a:ext uri="{FF2B5EF4-FFF2-40B4-BE49-F238E27FC236}">
                  <a16:creationId xmlns:a16="http://schemas.microsoft.com/office/drawing/2014/main" id="{59EDD030-9510-39DB-2CA0-FF2121BBFE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4">
              <a:extLst>
                <a:ext uri="{FF2B5EF4-FFF2-40B4-BE49-F238E27FC236}">
                  <a16:creationId xmlns:a16="http://schemas.microsoft.com/office/drawing/2014/main" id="{CD22982E-9E8A-F39F-D743-2236EE9A533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25">
              <a:extLst>
                <a:ext uri="{FF2B5EF4-FFF2-40B4-BE49-F238E27FC236}">
                  <a16:creationId xmlns:a16="http://schemas.microsoft.com/office/drawing/2014/main" id="{4F05673D-CF4F-CDFE-4BB4-294DA2ECB16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26">
              <a:extLst>
                <a:ext uri="{FF2B5EF4-FFF2-40B4-BE49-F238E27FC236}">
                  <a16:creationId xmlns:a16="http://schemas.microsoft.com/office/drawing/2014/main" id="{2233C9E5-6CC8-63D4-B576-81CCFC0498F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27">
              <a:extLst>
                <a:ext uri="{FF2B5EF4-FFF2-40B4-BE49-F238E27FC236}">
                  <a16:creationId xmlns:a16="http://schemas.microsoft.com/office/drawing/2014/main" id="{8FD80DE1-6CC0-665C-3677-2AD96C61B18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6" name="Freeform 28">
              <a:extLst>
                <a:ext uri="{FF2B5EF4-FFF2-40B4-BE49-F238E27FC236}">
                  <a16:creationId xmlns:a16="http://schemas.microsoft.com/office/drawing/2014/main" id="{5B8A2B13-D1E7-A8F7-3173-2A2872C9A4F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29">
              <a:extLst>
                <a:ext uri="{FF2B5EF4-FFF2-40B4-BE49-F238E27FC236}">
                  <a16:creationId xmlns:a16="http://schemas.microsoft.com/office/drawing/2014/main" id="{C3AA5AC8-C3DB-6F7A-21A2-44E2F15CC22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14" name="Rechteck 44">
            <a:extLst>
              <a:ext uri="{FF2B5EF4-FFF2-40B4-BE49-F238E27FC236}">
                <a16:creationId xmlns:a16="http://schemas.microsoft.com/office/drawing/2014/main" id="{E2AEF78A-192D-5736-CEB3-BBC2022B4CAC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3CEBB84-1665-842A-F4E9-3E6D09D230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1926306"/>
            <a:ext cx="4286250" cy="8763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DDFCBDD-811E-3F8D-DA70-201C5DC48E3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290856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20687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mage lef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F6B1D54-B5EC-EDAE-003E-6134466F2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6385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6B1D54-B5EC-EDAE-003E-6134466F2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BE8AC1E-D077-8096-E2FE-BF266A43AF0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91" y="1484314"/>
            <a:ext cx="5543547" cy="4897436"/>
          </a:xfrm>
          <a:custGeom>
            <a:avLst/>
            <a:gdLst>
              <a:gd name="connsiteX0" fmla="*/ 285669 w 5543547"/>
              <a:gd name="connsiteY0" fmla="*/ 0 h 4897436"/>
              <a:gd name="connsiteX1" fmla="*/ 357203 w 5543547"/>
              <a:gd name="connsiteY1" fmla="*/ 0 h 4897436"/>
              <a:gd name="connsiteX2" fmla="*/ 2253673 w 5543547"/>
              <a:gd name="connsiteY2" fmla="*/ 0 h 4897436"/>
              <a:gd name="connsiteX3" fmla="*/ 2325207 w 5543547"/>
              <a:gd name="connsiteY3" fmla="*/ 0 h 4897436"/>
              <a:gd name="connsiteX4" fmla="*/ 3218340 w 5543547"/>
              <a:gd name="connsiteY4" fmla="*/ 0 h 4897436"/>
              <a:gd name="connsiteX5" fmla="*/ 3289874 w 5543547"/>
              <a:gd name="connsiteY5" fmla="*/ 0 h 4897436"/>
              <a:gd name="connsiteX6" fmla="*/ 5186344 w 5543547"/>
              <a:gd name="connsiteY6" fmla="*/ 0 h 4897436"/>
              <a:gd name="connsiteX7" fmla="*/ 5257878 w 5543547"/>
              <a:gd name="connsiteY7" fmla="*/ 0 h 4897436"/>
              <a:gd name="connsiteX8" fmla="*/ 5543547 w 5543547"/>
              <a:gd name="connsiteY8" fmla="*/ 285669 h 4897436"/>
              <a:gd name="connsiteX9" fmla="*/ 5543547 w 5543547"/>
              <a:gd name="connsiteY9" fmla="*/ 1935761 h 4897436"/>
              <a:gd name="connsiteX10" fmla="*/ 5543547 w 5543547"/>
              <a:gd name="connsiteY10" fmla="*/ 2961675 h 4897436"/>
              <a:gd name="connsiteX11" fmla="*/ 5543547 w 5543547"/>
              <a:gd name="connsiteY11" fmla="*/ 4611767 h 4897436"/>
              <a:gd name="connsiteX12" fmla="*/ 5257878 w 5543547"/>
              <a:gd name="connsiteY12" fmla="*/ 4897436 h 4897436"/>
              <a:gd name="connsiteX13" fmla="*/ 5186344 w 5543547"/>
              <a:gd name="connsiteY13" fmla="*/ 4897436 h 4897436"/>
              <a:gd name="connsiteX14" fmla="*/ 3289874 w 5543547"/>
              <a:gd name="connsiteY14" fmla="*/ 4897436 h 4897436"/>
              <a:gd name="connsiteX15" fmla="*/ 3218340 w 5543547"/>
              <a:gd name="connsiteY15" fmla="*/ 4897436 h 4897436"/>
              <a:gd name="connsiteX16" fmla="*/ 2325207 w 5543547"/>
              <a:gd name="connsiteY16" fmla="*/ 4897436 h 4897436"/>
              <a:gd name="connsiteX17" fmla="*/ 2253673 w 5543547"/>
              <a:gd name="connsiteY17" fmla="*/ 4897436 h 4897436"/>
              <a:gd name="connsiteX18" fmla="*/ 357203 w 5543547"/>
              <a:gd name="connsiteY18" fmla="*/ 4897436 h 4897436"/>
              <a:gd name="connsiteX19" fmla="*/ 285669 w 5543547"/>
              <a:gd name="connsiteY19" fmla="*/ 4897436 h 4897436"/>
              <a:gd name="connsiteX20" fmla="*/ 0 w 5543547"/>
              <a:gd name="connsiteY20" fmla="*/ 4611767 h 4897436"/>
              <a:gd name="connsiteX21" fmla="*/ 0 w 5543547"/>
              <a:gd name="connsiteY21" fmla="*/ 2961675 h 4897436"/>
              <a:gd name="connsiteX22" fmla="*/ 0 w 5543547"/>
              <a:gd name="connsiteY22" fmla="*/ 1935761 h 4897436"/>
              <a:gd name="connsiteX23" fmla="*/ 0 w 5543547"/>
              <a:gd name="connsiteY23" fmla="*/ 285669 h 4897436"/>
              <a:gd name="connsiteX24" fmla="*/ 285669 w 5543547"/>
              <a:gd name="connsiteY24" fmla="*/ 0 h 4897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5543547" h="4897436">
                <a:moveTo>
                  <a:pt x="285669" y="0"/>
                </a:moveTo>
                <a:lnTo>
                  <a:pt x="357203" y="0"/>
                </a:lnTo>
                <a:lnTo>
                  <a:pt x="2253673" y="0"/>
                </a:lnTo>
                <a:lnTo>
                  <a:pt x="2325207" y="0"/>
                </a:lnTo>
                <a:lnTo>
                  <a:pt x="3218340" y="0"/>
                </a:lnTo>
                <a:lnTo>
                  <a:pt x="3289874" y="0"/>
                </a:lnTo>
                <a:lnTo>
                  <a:pt x="5186344" y="0"/>
                </a:lnTo>
                <a:lnTo>
                  <a:pt x="5257878" y="0"/>
                </a:lnTo>
                <a:cubicBezTo>
                  <a:pt x="5415649" y="0"/>
                  <a:pt x="5543547" y="127898"/>
                  <a:pt x="5543547" y="285669"/>
                </a:cubicBezTo>
                <a:lnTo>
                  <a:pt x="5543547" y="1935761"/>
                </a:lnTo>
                <a:lnTo>
                  <a:pt x="5543547" y="2961675"/>
                </a:lnTo>
                <a:lnTo>
                  <a:pt x="5543547" y="4611767"/>
                </a:lnTo>
                <a:cubicBezTo>
                  <a:pt x="5543547" y="4769538"/>
                  <a:pt x="5415649" y="4897436"/>
                  <a:pt x="5257878" y="4897436"/>
                </a:cubicBezTo>
                <a:lnTo>
                  <a:pt x="5186344" y="4897436"/>
                </a:lnTo>
                <a:lnTo>
                  <a:pt x="3289874" y="4897436"/>
                </a:lnTo>
                <a:lnTo>
                  <a:pt x="3218340" y="4897436"/>
                </a:lnTo>
                <a:lnTo>
                  <a:pt x="2325207" y="4897436"/>
                </a:lnTo>
                <a:lnTo>
                  <a:pt x="2253673" y="4897436"/>
                </a:lnTo>
                <a:lnTo>
                  <a:pt x="357203" y="4897436"/>
                </a:lnTo>
                <a:lnTo>
                  <a:pt x="285669" y="4897436"/>
                </a:lnTo>
                <a:cubicBezTo>
                  <a:pt x="127898" y="4897436"/>
                  <a:pt x="0" y="4769538"/>
                  <a:pt x="0" y="4611767"/>
                </a:cubicBezTo>
                <a:lnTo>
                  <a:pt x="0" y="2961675"/>
                </a:lnTo>
                <a:lnTo>
                  <a:pt x="0" y="1935761"/>
                </a:lnTo>
                <a:lnTo>
                  <a:pt x="0" y="285669"/>
                </a:lnTo>
                <a:cubicBezTo>
                  <a:pt x="0" y="127898"/>
                  <a:pt x="127898" y="0"/>
                  <a:pt x="28566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CA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D194ECB-CC32-B9E9-A61F-B149814AF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0C577D-249B-E34D-F4DD-C4866A7E8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6D119F-689D-4112-94EF-BACCDDBAD45A}" type="datetime1">
              <a:rPr lang="de-DE" smtClean="0"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F4C4EE-018F-91D7-2A63-2D3B5AF22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17D222D-8F33-4C88-A6E6-06BD1C7F21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/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421D3D73-D2B7-AB71-388C-060C689CC1BF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40466" y="1484314"/>
            <a:ext cx="5543547" cy="4897436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11" name="Rechteck 44">
            <a:extLst>
              <a:ext uri="{FF2B5EF4-FFF2-40B4-BE49-F238E27FC236}">
                <a16:creationId xmlns:a16="http://schemas.microsoft.com/office/drawing/2014/main" id="{0BE3F7DD-561A-6155-7180-685889BB7778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7EDF542-011D-6F24-BFCF-4A90600271A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2326356"/>
            <a:ext cx="4286250" cy="8763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9ED7187-4594-8128-0CC5-1D9C1B0F240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330861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9725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image left blu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F6B1D54-B5EC-EDAE-003E-6134466F2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9372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6B1D54-B5EC-EDAE-003E-6134466F2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D194ECB-CC32-B9E9-A61F-B149814AF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0C577D-249B-E34D-F4DD-C4866A7E8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26D119F-689D-4112-94EF-BACCDDBAD45A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F4C4EE-018F-91D7-2A63-2D3B5AF22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17D222D-8F33-4C88-A6E6-06BD1C7F21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>
                <a:solidFill>
                  <a:schemeClr val="accent3"/>
                </a:solidFill>
              </a:defRPr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421D3D73-D2B7-AB71-388C-060C689CC1BF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40463" y="1484314"/>
            <a:ext cx="5543551" cy="489743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99C993E6-920F-E52C-98EC-CB30E5FDD593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02F5428E-2F1A-8EB2-DA5B-8AFEAE2D96D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7" y="1484314"/>
            <a:ext cx="5543547" cy="4897436"/>
          </a:xfrm>
          <a:custGeom>
            <a:avLst/>
            <a:gdLst>
              <a:gd name="connsiteX0" fmla="*/ 285669 w 5543547"/>
              <a:gd name="connsiteY0" fmla="*/ 0 h 4897436"/>
              <a:gd name="connsiteX1" fmla="*/ 357203 w 5543547"/>
              <a:gd name="connsiteY1" fmla="*/ 0 h 4897436"/>
              <a:gd name="connsiteX2" fmla="*/ 2253673 w 5543547"/>
              <a:gd name="connsiteY2" fmla="*/ 0 h 4897436"/>
              <a:gd name="connsiteX3" fmla="*/ 2325207 w 5543547"/>
              <a:gd name="connsiteY3" fmla="*/ 0 h 4897436"/>
              <a:gd name="connsiteX4" fmla="*/ 3218340 w 5543547"/>
              <a:gd name="connsiteY4" fmla="*/ 0 h 4897436"/>
              <a:gd name="connsiteX5" fmla="*/ 3289874 w 5543547"/>
              <a:gd name="connsiteY5" fmla="*/ 0 h 4897436"/>
              <a:gd name="connsiteX6" fmla="*/ 5186344 w 5543547"/>
              <a:gd name="connsiteY6" fmla="*/ 0 h 4897436"/>
              <a:gd name="connsiteX7" fmla="*/ 5257878 w 5543547"/>
              <a:gd name="connsiteY7" fmla="*/ 0 h 4897436"/>
              <a:gd name="connsiteX8" fmla="*/ 5543547 w 5543547"/>
              <a:gd name="connsiteY8" fmla="*/ 285669 h 4897436"/>
              <a:gd name="connsiteX9" fmla="*/ 5543547 w 5543547"/>
              <a:gd name="connsiteY9" fmla="*/ 1935761 h 4897436"/>
              <a:gd name="connsiteX10" fmla="*/ 5543547 w 5543547"/>
              <a:gd name="connsiteY10" fmla="*/ 2961675 h 4897436"/>
              <a:gd name="connsiteX11" fmla="*/ 5543547 w 5543547"/>
              <a:gd name="connsiteY11" fmla="*/ 4611767 h 4897436"/>
              <a:gd name="connsiteX12" fmla="*/ 5257878 w 5543547"/>
              <a:gd name="connsiteY12" fmla="*/ 4897436 h 4897436"/>
              <a:gd name="connsiteX13" fmla="*/ 5186344 w 5543547"/>
              <a:gd name="connsiteY13" fmla="*/ 4897436 h 4897436"/>
              <a:gd name="connsiteX14" fmla="*/ 3289874 w 5543547"/>
              <a:gd name="connsiteY14" fmla="*/ 4897436 h 4897436"/>
              <a:gd name="connsiteX15" fmla="*/ 3218340 w 5543547"/>
              <a:gd name="connsiteY15" fmla="*/ 4897436 h 4897436"/>
              <a:gd name="connsiteX16" fmla="*/ 2325207 w 5543547"/>
              <a:gd name="connsiteY16" fmla="*/ 4897436 h 4897436"/>
              <a:gd name="connsiteX17" fmla="*/ 2253673 w 5543547"/>
              <a:gd name="connsiteY17" fmla="*/ 4897436 h 4897436"/>
              <a:gd name="connsiteX18" fmla="*/ 357203 w 5543547"/>
              <a:gd name="connsiteY18" fmla="*/ 4897436 h 4897436"/>
              <a:gd name="connsiteX19" fmla="*/ 285669 w 5543547"/>
              <a:gd name="connsiteY19" fmla="*/ 4897436 h 4897436"/>
              <a:gd name="connsiteX20" fmla="*/ 0 w 5543547"/>
              <a:gd name="connsiteY20" fmla="*/ 4611767 h 4897436"/>
              <a:gd name="connsiteX21" fmla="*/ 0 w 5543547"/>
              <a:gd name="connsiteY21" fmla="*/ 2961675 h 4897436"/>
              <a:gd name="connsiteX22" fmla="*/ 0 w 5543547"/>
              <a:gd name="connsiteY22" fmla="*/ 1935761 h 4897436"/>
              <a:gd name="connsiteX23" fmla="*/ 0 w 5543547"/>
              <a:gd name="connsiteY23" fmla="*/ 285669 h 4897436"/>
              <a:gd name="connsiteX24" fmla="*/ 285669 w 5543547"/>
              <a:gd name="connsiteY24" fmla="*/ 0 h 4897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5543547" h="4897436">
                <a:moveTo>
                  <a:pt x="285669" y="0"/>
                </a:moveTo>
                <a:lnTo>
                  <a:pt x="357203" y="0"/>
                </a:lnTo>
                <a:lnTo>
                  <a:pt x="2253673" y="0"/>
                </a:lnTo>
                <a:lnTo>
                  <a:pt x="2325207" y="0"/>
                </a:lnTo>
                <a:lnTo>
                  <a:pt x="3218340" y="0"/>
                </a:lnTo>
                <a:lnTo>
                  <a:pt x="3289874" y="0"/>
                </a:lnTo>
                <a:lnTo>
                  <a:pt x="5186344" y="0"/>
                </a:lnTo>
                <a:lnTo>
                  <a:pt x="5257878" y="0"/>
                </a:lnTo>
                <a:cubicBezTo>
                  <a:pt x="5415649" y="0"/>
                  <a:pt x="5543547" y="127898"/>
                  <a:pt x="5543547" y="285669"/>
                </a:cubicBezTo>
                <a:lnTo>
                  <a:pt x="5543547" y="1935761"/>
                </a:lnTo>
                <a:lnTo>
                  <a:pt x="5543547" y="2961675"/>
                </a:lnTo>
                <a:lnTo>
                  <a:pt x="5543547" y="4611767"/>
                </a:lnTo>
                <a:cubicBezTo>
                  <a:pt x="5543547" y="4769538"/>
                  <a:pt x="5415649" y="4897436"/>
                  <a:pt x="5257878" y="4897436"/>
                </a:cubicBezTo>
                <a:lnTo>
                  <a:pt x="5186344" y="4897436"/>
                </a:lnTo>
                <a:lnTo>
                  <a:pt x="3289874" y="4897436"/>
                </a:lnTo>
                <a:lnTo>
                  <a:pt x="3218340" y="4897436"/>
                </a:lnTo>
                <a:lnTo>
                  <a:pt x="2325207" y="4897436"/>
                </a:lnTo>
                <a:lnTo>
                  <a:pt x="2253673" y="4897436"/>
                </a:lnTo>
                <a:lnTo>
                  <a:pt x="357203" y="4897436"/>
                </a:lnTo>
                <a:lnTo>
                  <a:pt x="285669" y="4897436"/>
                </a:lnTo>
                <a:cubicBezTo>
                  <a:pt x="127898" y="4897436"/>
                  <a:pt x="0" y="4769538"/>
                  <a:pt x="0" y="4611767"/>
                </a:cubicBezTo>
                <a:lnTo>
                  <a:pt x="0" y="2961675"/>
                </a:lnTo>
                <a:lnTo>
                  <a:pt x="0" y="1935761"/>
                </a:lnTo>
                <a:lnTo>
                  <a:pt x="0" y="285669"/>
                </a:lnTo>
                <a:cubicBezTo>
                  <a:pt x="0" y="127898"/>
                  <a:pt x="127898" y="0"/>
                  <a:pt x="28566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CA"/>
          </a:p>
        </p:txBody>
      </p:sp>
      <p:grpSp>
        <p:nvGrpSpPr>
          <p:cNvPr id="3" name="Gruppieren 14">
            <a:extLst>
              <a:ext uri="{FF2B5EF4-FFF2-40B4-BE49-F238E27FC236}">
                <a16:creationId xmlns:a16="http://schemas.microsoft.com/office/drawing/2014/main" id="{795C6BFF-722A-74D6-7B84-2BEF68C3CD91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5BF5E3A5-DCE5-6650-5224-7EA0F14E26A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" name="Rectangle 8">
              <a:extLst>
                <a:ext uri="{FF2B5EF4-FFF2-40B4-BE49-F238E27FC236}">
                  <a16:creationId xmlns:a16="http://schemas.microsoft.com/office/drawing/2014/main" id="{461ECB9E-3043-248A-4C5E-2C626538CDB1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6" name="Rectangle 9">
              <a:extLst>
                <a:ext uri="{FF2B5EF4-FFF2-40B4-BE49-F238E27FC236}">
                  <a16:creationId xmlns:a16="http://schemas.microsoft.com/office/drawing/2014/main" id="{46103400-4824-4DF6-465A-21DC6D35235E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3052C0C6-D6FE-6AC5-79E7-4595EFDB38A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A9AAB9A6-BA17-3494-3DEF-01A16AC9F0D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D8DE8513-B9FF-A49C-CE83-E59F609ADCF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4A806682-AD4A-F985-B90A-D80C2B0CA36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F8E02874-DA87-220A-94FF-4E93A021D3B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3" name="Freeform 15">
              <a:extLst>
                <a:ext uri="{FF2B5EF4-FFF2-40B4-BE49-F238E27FC236}">
                  <a16:creationId xmlns:a16="http://schemas.microsoft.com/office/drawing/2014/main" id="{5BD77A8E-325F-7B59-86CC-0E480C8A358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6">
              <a:extLst>
                <a:ext uri="{FF2B5EF4-FFF2-40B4-BE49-F238E27FC236}">
                  <a16:creationId xmlns:a16="http://schemas.microsoft.com/office/drawing/2014/main" id="{E36AEC08-6965-57A9-B875-5625CA602A3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3668CB48-4122-7A08-F8F9-B39770FBE9E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18">
              <a:extLst>
                <a:ext uri="{FF2B5EF4-FFF2-40B4-BE49-F238E27FC236}">
                  <a16:creationId xmlns:a16="http://schemas.microsoft.com/office/drawing/2014/main" id="{46665557-048E-C33C-02E8-5E99392E708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7" name="Freeform 19">
              <a:extLst>
                <a:ext uri="{FF2B5EF4-FFF2-40B4-BE49-F238E27FC236}">
                  <a16:creationId xmlns:a16="http://schemas.microsoft.com/office/drawing/2014/main" id="{1677B803-DF15-849B-589D-91C7936D7D0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20">
              <a:extLst>
                <a:ext uri="{FF2B5EF4-FFF2-40B4-BE49-F238E27FC236}">
                  <a16:creationId xmlns:a16="http://schemas.microsoft.com/office/drawing/2014/main" id="{9D0030B6-EAB8-96F6-CA54-0FC2F61200C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21">
              <a:extLst>
                <a:ext uri="{FF2B5EF4-FFF2-40B4-BE49-F238E27FC236}">
                  <a16:creationId xmlns:a16="http://schemas.microsoft.com/office/drawing/2014/main" id="{FB4AD1F2-3A6C-F71D-0319-453B50EF3AE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22">
              <a:extLst>
                <a:ext uri="{FF2B5EF4-FFF2-40B4-BE49-F238E27FC236}">
                  <a16:creationId xmlns:a16="http://schemas.microsoft.com/office/drawing/2014/main" id="{8995A21D-BF56-0037-2D56-248FFD1BF36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3">
              <a:extLst>
                <a:ext uri="{FF2B5EF4-FFF2-40B4-BE49-F238E27FC236}">
                  <a16:creationId xmlns:a16="http://schemas.microsoft.com/office/drawing/2014/main" id="{22D8C8D7-0B5C-1DA5-6942-7E0CEB7F205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4">
              <a:extLst>
                <a:ext uri="{FF2B5EF4-FFF2-40B4-BE49-F238E27FC236}">
                  <a16:creationId xmlns:a16="http://schemas.microsoft.com/office/drawing/2014/main" id="{AB83D7F9-CE40-A980-9881-6AF1D9E2B45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25">
              <a:extLst>
                <a:ext uri="{FF2B5EF4-FFF2-40B4-BE49-F238E27FC236}">
                  <a16:creationId xmlns:a16="http://schemas.microsoft.com/office/drawing/2014/main" id="{9BBF1F35-7D2E-D854-5452-B513B9B9CA6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26">
              <a:extLst>
                <a:ext uri="{FF2B5EF4-FFF2-40B4-BE49-F238E27FC236}">
                  <a16:creationId xmlns:a16="http://schemas.microsoft.com/office/drawing/2014/main" id="{4A339E82-3B4A-445E-5520-B989141D032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27">
              <a:extLst>
                <a:ext uri="{FF2B5EF4-FFF2-40B4-BE49-F238E27FC236}">
                  <a16:creationId xmlns:a16="http://schemas.microsoft.com/office/drawing/2014/main" id="{8D32922B-394E-7E8B-537C-77BCD904380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6" name="Freeform 28">
              <a:extLst>
                <a:ext uri="{FF2B5EF4-FFF2-40B4-BE49-F238E27FC236}">
                  <a16:creationId xmlns:a16="http://schemas.microsoft.com/office/drawing/2014/main" id="{926BC213-6A06-E393-8B65-F5C90500DA7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29">
              <a:extLst>
                <a:ext uri="{FF2B5EF4-FFF2-40B4-BE49-F238E27FC236}">
                  <a16:creationId xmlns:a16="http://schemas.microsoft.com/office/drawing/2014/main" id="{3FF3EB89-D2A9-FFE5-6DDE-0F0A2245671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14" name="Rechteck 44">
            <a:extLst>
              <a:ext uri="{FF2B5EF4-FFF2-40B4-BE49-F238E27FC236}">
                <a16:creationId xmlns:a16="http://schemas.microsoft.com/office/drawing/2014/main" id="{E8D5C1F8-1F84-B256-7CB2-F337B2448294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88ACCA3-5043-C77F-F765-A878AA95FA6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1926306"/>
            <a:ext cx="4286250" cy="8763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45970E5-77FD-3364-6420-B2A5CD7A6C7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290856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49410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arrow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3FAC809-F737-0457-5C13-5B83466E7B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6644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FAC809-F737-0457-5C13-5B83466E7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Freihandform: Form 63">
            <a:extLst>
              <a:ext uri="{FF2B5EF4-FFF2-40B4-BE49-F238E27FC236}">
                <a16:creationId xmlns:a16="http://schemas.microsoft.com/office/drawing/2014/main" id="{5D0E5BF0-5C1C-5221-1AA8-D35AC298721C}"/>
              </a:ext>
            </a:extLst>
          </p:cNvPr>
          <p:cNvSpPr/>
          <p:nvPr userDrawn="1"/>
        </p:nvSpPr>
        <p:spPr bwMode="white">
          <a:xfrm rot="5400000">
            <a:off x="2667000" y="-2667000"/>
            <a:ext cx="6858000" cy="12192000"/>
          </a:xfrm>
          <a:custGeom>
            <a:avLst/>
            <a:gdLst>
              <a:gd name="connsiteX0" fmla="*/ 489121 w 6858000"/>
              <a:gd name="connsiteY0" fmla="*/ 12192000 h 12192000"/>
              <a:gd name="connsiteX1" fmla="*/ 3429000 w 6858000"/>
              <a:gd name="connsiteY1" fmla="*/ 9023644 h 12192000"/>
              <a:gd name="connsiteX2" fmla="*/ 6368880 w 6858000"/>
              <a:gd name="connsiteY2" fmla="*/ 12192000 h 12192000"/>
              <a:gd name="connsiteX3" fmla="*/ 0 w 6858000"/>
              <a:gd name="connsiteY3" fmla="*/ 4046244 h 12192000"/>
              <a:gd name="connsiteX4" fmla="*/ 0 w 6858000"/>
              <a:gd name="connsiteY4" fmla="*/ 598373 h 12192000"/>
              <a:gd name="connsiteX5" fmla="*/ 555223 w 6858000"/>
              <a:gd name="connsiteY5" fmla="*/ 0 h 12192000"/>
              <a:gd name="connsiteX6" fmla="*/ 6302777 w 6858000"/>
              <a:gd name="connsiteY6" fmla="*/ 0 h 12192000"/>
              <a:gd name="connsiteX7" fmla="*/ 6858000 w 6858000"/>
              <a:gd name="connsiteY7" fmla="*/ 598373 h 12192000"/>
              <a:gd name="connsiteX8" fmla="*/ 6858000 w 6858000"/>
              <a:gd name="connsiteY8" fmla="*/ 4046244 h 12192000"/>
              <a:gd name="connsiteX9" fmla="*/ 3429000 w 6858000"/>
              <a:gd name="connsiteY9" fmla="*/ 350753 h 12192000"/>
              <a:gd name="connsiteX10" fmla="*/ 0 w 6858000"/>
              <a:gd name="connsiteY10" fmla="*/ 10106624 h 12192000"/>
              <a:gd name="connsiteX11" fmla="*/ 0 w 6858000"/>
              <a:gd name="connsiteY11" fmla="*/ 6658754 h 12192000"/>
              <a:gd name="connsiteX12" fmla="*/ 3429000 w 6858000"/>
              <a:gd name="connsiteY12" fmla="*/ 2963265 h 12192000"/>
              <a:gd name="connsiteX13" fmla="*/ 6858000 w 6858000"/>
              <a:gd name="connsiteY13" fmla="*/ 6658754 h 12192000"/>
              <a:gd name="connsiteX14" fmla="*/ 6858000 w 6858000"/>
              <a:gd name="connsiteY14" fmla="*/ 10106624 h 12192000"/>
              <a:gd name="connsiteX15" fmla="*/ 3429000 w 6858000"/>
              <a:gd name="connsiteY15" fmla="*/ 6411134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858000" h="12192000">
                <a:moveTo>
                  <a:pt x="489121" y="12192000"/>
                </a:moveTo>
                <a:lnTo>
                  <a:pt x="3429000" y="9023644"/>
                </a:lnTo>
                <a:lnTo>
                  <a:pt x="6368880" y="12192000"/>
                </a:lnTo>
                <a:close/>
                <a:moveTo>
                  <a:pt x="0" y="4046244"/>
                </a:moveTo>
                <a:lnTo>
                  <a:pt x="0" y="598373"/>
                </a:lnTo>
                <a:lnTo>
                  <a:pt x="555223" y="0"/>
                </a:lnTo>
                <a:lnTo>
                  <a:pt x="6302777" y="0"/>
                </a:lnTo>
                <a:lnTo>
                  <a:pt x="6858000" y="598373"/>
                </a:lnTo>
                <a:lnTo>
                  <a:pt x="6858000" y="4046244"/>
                </a:lnTo>
                <a:lnTo>
                  <a:pt x="3429000" y="350753"/>
                </a:lnTo>
                <a:close/>
                <a:moveTo>
                  <a:pt x="0" y="10106624"/>
                </a:moveTo>
                <a:lnTo>
                  <a:pt x="0" y="6658754"/>
                </a:lnTo>
                <a:lnTo>
                  <a:pt x="3429000" y="2963265"/>
                </a:lnTo>
                <a:lnTo>
                  <a:pt x="6858000" y="6658754"/>
                </a:lnTo>
                <a:lnTo>
                  <a:pt x="6858000" y="10106624"/>
                </a:lnTo>
                <a:lnTo>
                  <a:pt x="3429000" y="6411134"/>
                </a:lnTo>
                <a:close/>
              </a:path>
            </a:pathLst>
          </a:custGeom>
          <a:solidFill>
            <a:schemeClr val="accent1">
              <a:alpha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en-US" sz="1400" b="1">
              <a:solidFill>
                <a:schemeClr val="bg1"/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5EE187F-F997-81B4-655B-7B76AE9F15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07988" y="1196975"/>
            <a:ext cx="845390" cy="405189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wrap="none" lIns="72000" tIns="36000" rIns="72000" bIns="36000" anchor="ctr">
            <a:spAutoFit/>
          </a:bodyPr>
          <a:lstStyle>
            <a:lvl1pPr marL="0" indent="0" algn="l"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Closing</a:t>
            </a: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4C80E508-4AC3-3000-0607-EC1A86CB453D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grpSp>
        <p:nvGrpSpPr>
          <p:cNvPr id="5" name="Gruppieren 14">
            <a:extLst>
              <a:ext uri="{FF2B5EF4-FFF2-40B4-BE49-F238E27FC236}">
                <a16:creationId xmlns:a16="http://schemas.microsoft.com/office/drawing/2014/main" id="{0744267D-F4FB-AE39-3047-AB1269AD01A3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024D6778-05E3-D880-B54F-6F187D25894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4" name="Rectangle 8">
              <a:extLst>
                <a:ext uri="{FF2B5EF4-FFF2-40B4-BE49-F238E27FC236}">
                  <a16:creationId xmlns:a16="http://schemas.microsoft.com/office/drawing/2014/main" id="{946D438B-8E04-D20A-A36F-2866F7D66699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6E28CF8E-B4CD-C273-5B41-A8B3E084ADFB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089A5C8F-F4FB-C007-934D-5AAB3D02218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58B103C3-C2E9-4DF0-5DC3-A6AD35E0993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8587A43E-BB25-79EF-53CB-5F1EC5408E1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6C7B9EB7-E823-2966-9EA0-5A0A9788445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F9CC2457-FCB9-3F83-5D9C-C3EBA0F3316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E37C9A3D-1832-E518-09B2-30B05CB1E35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279A0D2C-4C32-B3D5-DDEF-1BB58AEA7B9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435FD5C5-ED4A-C1EE-7C92-9AC108D721A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0BBF400D-05FF-44A0-4723-0923EAE9D87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C303CBB9-5287-73F6-D1B9-B816C1EFEFD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20">
              <a:extLst>
                <a:ext uri="{FF2B5EF4-FFF2-40B4-BE49-F238E27FC236}">
                  <a16:creationId xmlns:a16="http://schemas.microsoft.com/office/drawing/2014/main" id="{16EF84C1-C142-8733-B98F-4231F230B5F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7" name="Freeform 21">
              <a:extLst>
                <a:ext uri="{FF2B5EF4-FFF2-40B4-BE49-F238E27FC236}">
                  <a16:creationId xmlns:a16="http://schemas.microsoft.com/office/drawing/2014/main" id="{34D9BFCC-BED8-6450-31B5-ADBBD9688C2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22">
              <a:extLst>
                <a:ext uri="{FF2B5EF4-FFF2-40B4-BE49-F238E27FC236}">
                  <a16:creationId xmlns:a16="http://schemas.microsoft.com/office/drawing/2014/main" id="{F5BA6C4B-9B36-9806-6F28-0CF3EE54971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23">
              <a:extLst>
                <a:ext uri="{FF2B5EF4-FFF2-40B4-BE49-F238E27FC236}">
                  <a16:creationId xmlns:a16="http://schemas.microsoft.com/office/drawing/2014/main" id="{71EB9DB3-276C-BD91-8169-28BC41F466B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24">
              <a:extLst>
                <a:ext uri="{FF2B5EF4-FFF2-40B4-BE49-F238E27FC236}">
                  <a16:creationId xmlns:a16="http://schemas.microsoft.com/office/drawing/2014/main" id="{4878E3C7-DBA6-2955-F5DD-76B24467EF6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5">
              <a:extLst>
                <a:ext uri="{FF2B5EF4-FFF2-40B4-BE49-F238E27FC236}">
                  <a16:creationId xmlns:a16="http://schemas.microsoft.com/office/drawing/2014/main" id="{A42CD898-938B-8B8A-57F1-7473BB7D9F0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6">
              <a:extLst>
                <a:ext uri="{FF2B5EF4-FFF2-40B4-BE49-F238E27FC236}">
                  <a16:creationId xmlns:a16="http://schemas.microsoft.com/office/drawing/2014/main" id="{42E5EB9D-DC15-6E53-C501-B4E0B25E159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27">
              <a:extLst>
                <a:ext uri="{FF2B5EF4-FFF2-40B4-BE49-F238E27FC236}">
                  <a16:creationId xmlns:a16="http://schemas.microsoft.com/office/drawing/2014/main" id="{614E77A8-7697-9CA0-2926-181E398E251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28">
              <a:extLst>
                <a:ext uri="{FF2B5EF4-FFF2-40B4-BE49-F238E27FC236}">
                  <a16:creationId xmlns:a16="http://schemas.microsoft.com/office/drawing/2014/main" id="{F1F64CB8-8D6E-1A9E-9505-DF93E200E00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ED1F8ADE-84C9-774B-4C68-AE3E7371298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56" name="Titel 1">
            <a:extLst>
              <a:ext uri="{FF2B5EF4-FFF2-40B4-BE49-F238E27FC236}">
                <a16:creationId xmlns:a16="http://schemas.microsoft.com/office/drawing/2014/main" id="{BB5090ED-C01C-CFF0-F53C-C02277DEC9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070163"/>
            <a:ext cx="5538787" cy="2111312"/>
          </a:xfrm>
        </p:spPr>
        <p:txBody>
          <a:bodyPr vert="horz" anchor="t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Enabling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shape</a:t>
            </a:r>
            <a:r>
              <a:rPr lang="de-DE"/>
              <a:t> a </a:t>
            </a:r>
            <a:r>
              <a:rPr lang="de-DE" err="1"/>
              <a:t>better</a:t>
            </a:r>
            <a:r>
              <a:rPr lang="de-DE"/>
              <a:t> </a:t>
            </a:r>
            <a:r>
              <a:rPr lang="de-DE" err="1"/>
              <a:t>tomorrow</a:t>
            </a:r>
            <a:endParaRPr lang="en-CA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D924A48-BBBD-C395-CAC0-DB64DA72C549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06452" y="4545128"/>
            <a:ext cx="11377507" cy="1584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CC9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t"/>
          <a:lstStyle/>
          <a:p>
            <a:pPr eaLnBrk="0" hangingPunct="0">
              <a:lnSpc>
                <a:spcPct val="100000"/>
              </a:lnSpc>
              <a:spcBef>
                <a:spcPts val="30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r>
              <a:rPr lang="en-US" sz="1400" b="1" noProof="0">
                <a:solidFill>
                  <a:schemeClr val="bg1"/>
                </a:solidFill>
                <a:latin typeface="+mn-lt"/>
                <a:cs typeface="Segoe UI"/>
              </a:rPr>
              <a:t>MHP Management- und IT-</a:t>
            </a:r>
            <a:r>
              <a:rPr lang="en-US" sz="1400" b="1" noProof="0" err="1">
                <a:solidFill>
                  <a:schemeClr val="bg1"/>
                </a:solidFill>
                <a:latin typeface="+mn-lt"/>
                <a:cs typeface="Segoe UI"/>
              </a:rPr>
              <a:t>Beratung</a:t>
            </a:r>
            <a:r>
              <a:rPr lang="en-US" sz="1400" b="1" noProof="0">
                <a:solidFill>
                  <a:schemeClr val="bg1"/>
                </a:solidFill>
                <a:latin typeface="+mn-lt"/>
                <a:cs typeface="Segoe UI"/>
              </a:rPr>
              <a:t> GmbH</a:t>
            </a:r>
            <a:br>
              <a:rPr lang="en-US" sz="1400" b="1" noProof="0">
                <a:solidFill>
                  <a:schemeClr val="bg1"/>
                </a:solidFill>
                <a:latin typeface="+mn-lt"/>
                <a:cs typeface="Segoe UI"/>
              </a:rPr>
            </a:br>
            <a:br>
              <a:rPr lang="en-US" sz="1400" noProof="0">
                <a:solidFill>
                  <a:schemeClr val="bg1"/>
                </a:solidFill>
                <a:latin typeface="+mn-lt"/>
                <a:cs typeface="Segoe UI"/>
              </a:rPr>
            </a:br>
            <a:r>
              <a:rPr lang="en-US" sz="1400" noProof="0">
                <a:solidFill>
                  <a:schemeClr val="bg1"/>
                </a:solidFill>
                <a:latin typeface="+mn-lt"/>
                <a:cs typeface="Segoe UI"/>
              </a:rPr>
              <a:t>Film- und </a:t>
            </a:r>
            <a:r>
              <a:rPr lang="en-US" sz="1400" noProof="0" err="1">
                <a:solidFill>
                  <a:schemeClr val="bg1"/>
                </a:solidFill>
                <a:latin typeface="+mn-lt"/>
                <a:cs typeface="Segoe UI"/>
              </a:rPr>
              <a:t>Medienzentrum</a:t>
            </a:r>
            <a:r>
              <a:rPr lang="en-US" sz="1400" noProof="0">
                <a:solidFill>
                  <a:schemeClr val="bg1"/>
                </a:solidFill>
                <a:latin typeface="+mn-lt"/>
                <a:cs typeface="Segoe UI"/>
              </a:rPr>
              <a:t> l Königsallee 49 l D-71638 Ludwigsburg</a:t>
            </a:r>
          </a:p>
          <a:p>
            <a:pPr eaLnBrk="0" hangingPunct="0">
              <a:lnSpc>
                <a:spcPct val="100000"/>
              </a:lnSpc>
              <a:spcBef>
                <a:spcPts val="30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r>
              <a:rPr lang="en-US" sz="1400" noProof="0" err="1">
                <a:solidFill>
                  <a:schemeClr val="bg1"/>
                </a:solidFill>
                <a:latin typeface="+mn-lt"/>
                <a:cs typeface="Segoe UI"/>
                <a:sym typeface="Wingdings 2" charset="0"/>
              </a:rPr>
              <a:t>Telefon</a:t>
            </a:r>
            <a:r>
              <a:rPr lang="en-US" sz="1400" noProof="0">
                <a:solidFill>
                  <a:schemeClr val="bg1"/>
                </a:solidFill>
                <a:latin typeface="+mn-lt"/>
                <a:cs typeface="Segoe UI"/>
                <a:sym typeface="Wingdings 2" charset="0"/>
              </a:rPr>
              <a:t> +49 (0)7141 7856-0 l Fax +49 (0)7141 7856-199</a:t>
            </a:r>
          </a:p>
          <a:p>
            <a:pPr eaLnBrk="0" hangingPunct="0">
              <a:lnSpc>
                <a:spcPct val="100000"/>
              </a:lnSpc>
              <a:spcBef>
                <a:spcPts val="30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r>
              <a:rPr lang="en-US" sz="1400" noProof="0">
                <a:solidFill>
                  <a:schemeClr val="bg1"/>
                </a:solidFill>
                <a:latin typeface="+mn-lt"/>
                <a:cs typeface="Segoe UI"/>
                <a:sym typeface="Wingdings 2" charset="0"/>
              </a:rPr>
              <a:t>E-Mail info@mhp.com l Internet www.mhp.com</a:t>
            </a:r>
          </a:p>
        </p:txBody>
      </p:sp>
      <p:sp>
        <p:nvSpPr>
          <p:cNvPr id="4" name="Rechteck 44">
            <a:extLst>
              <a:ext uri="{FF2B5EF4-FFF2-40B4-BE49-F238E27FC236}">
                <a16:creationId xmlns:a16="http://schemas.microsoft.com/office/drawing/2014/main" id="{6B271249-64A9-B421-E1F4-075C010372A2}"/>
              </a:ext>
            </a:extLst>
          </p:cNvPr>
          <p:cNvSpPr/>
          <p:nvPr userDrawn="1"/>
        </p:nvSpPr>
        <p:spPr>
          <a:xfrm>
            <a:off x="12341678" y="0"/>
            <a:ext cx="301275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algn="l"/>
            <a:r>
              <a:rPr lang="en-CA" sz="1400" dirty="0">
                <a:solidFill>
                  <a:schemeClr val="tx2"/>
                </a:solidFill>
              </a:rPr>
              <a:t>Please do not add a background image on this layout -&gt; instead use the layout called ‘Closing slide image’</a:t>
            </a:r>
          </a:p>
        </p:txBody>
      </p:sp>
    </p:spTree>
    <p:extLst>
      <p:ext uri="{BB962C8B-B14F-4D97-AF65-F5344CB8AC3E}">
        <p14:creationId xmlns:p14="http://schemas.microsoft.com/office/powerpoint/2010/main" val="404686448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imag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43">
            <a:extLst>
              <a:ext uri="{FF2B5EF4-FFF2-40B4-BE49-F238E27FC236}">
                <a16:creationId xmlns:a16="http://schemas.microsoft.com/office/drawing/2014/main" id="{E076C8B9-B697-985C-9F2C-666948479D79}"/>
              </a:ext>
            </a:extLst>
          </p:cNvPr>
          <p:cNvSpPr>
            <a:spLocks/>
          </p:cNvSpPr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>
                  <a:alpha val="95000"/>
                </a:schemeClr>
              </a:gs>
              <a:gs pos="100000">
                <a:srgbClr val="3264FF">
                  <a:alpha val="90000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3FAC809-F737-0457-5C13-5B83466E7B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6644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FAC809-F737-0457-5C13-5B83466E7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5EE187F-F997-81B4-655B-7B76AE9F15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07988" y="1196975"/>
            <a:ext cx="845390" cy="405189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wrap="none" lIns="72000" tIns="36000" rIns="72000" bIns="36000" anchor="ctr">
            <a:spAutoFit/>
          </a:bodyPr>
          <a:lstStyle>
            <a:lvl1pPr marL="0" indent="0" algn="l"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Closing</a:t>
            </a: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4C80E508-4AC3-3000-0607-EC1A86CB453D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grpSp>
        <p:nvGrpSpPr>
          <p:cNvPr id="5" name="Gruppieren 14">
            <a:extLst>
              <a:ext uri="{FF2B5EF4-FFF2-40B4-BE49-F238E27FC236}">
                <a16:creationId xmlns:a16="http://schemas.microsoft.com/office/drawing/2014/main" id="{0744267D-F4FB-AE39-3047-AB1269AD01A3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024D6778-05E3-D880-B54F-6F187D25894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4" name="Rectangle 8">
              <a:extLst>
                <a:ext uri="{FF2B5EF4-FFF2-40B4-BE49-F238E27FC236}">
                  <a16:creationId xmlns:a16="http://schemas.microsoft.com/office/drawing/2014/main" id="{946D438B-8E04-D20A-A36F-2866F7D66699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6E28CF8E-B4CD-C273-5B41-A8B3E084ADFB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089A5C8F-F4FB-C007-934D-5AAB3D02218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58B103C3-C2E9-4DF0-5DC3-A6AD35E0993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8587A43E-BB25-79EF-53CB-5F1EC5408E1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6C7B9EB7-E823-2966-9EA0-5A0A9788445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F9CC2457-FCB9-3F83-5D9C-C3EBA0F3316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E37C9A3D-1832-E518-09B2-30B05CB1E35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279A0D2C-4C32-B3D5-DDEF-1BB58AEA7B9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435FD5C5-ED4A-C1EE-7C92-9AC108D721A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0BBF400D-05FF-44A0-4723-0923EAE9D87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C303CBB9-5287-73F6-D1B9-B816C1EFEFD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20">
              <a:extLst>
                <a:ext uri="{FF2B5EF4-FFF2-40B4-BE49-F238E27FC236}">
                  <a16:creationId xmlns:a16="http://schemas.microsoft.com/office/drawing/2014/main" id="{16EF84C1-C142-8733-B98F-4231F230B5F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7" name="Freeform 21">
              <a:extLst>
                <a:ext uri="{FF2B5EF4-FFF2-40B4-BE49-F238E27FC236}">
                  <a16:creationId xmlns:a16="http://schemas.microsoft.com/office/drawing/2014/main" id="{34D9BFCC-BED8-6450-31B5-ADBBD9688C2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22">
              <a:extLst>
                <a:ext uri="{FF2B5EF4-FFF2-40B4-BE49-F238E27FC236}">
                  <a16:creationId xmlns:a16="http://schemas.microsoft.com/office/drawing/2014/main" id="{F5BA6C4B-9B36-9806-6F28-0CF3EE54971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23">
              <a:extLst>
                <a:ext uri="{FF2B5EF4-FFF2-40B4-BE49-F238E27FC236}">
                  <a16:creationId xmlns:a16="http://schemas.microsoft.com/office/drawing/2014/main" id="{71EB9DB3-276C-BD91-8169-28BC41F466B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24">
              <a:extLst>
                <a:ext uri="{FF2B5EF4-FFF2-40B4-BE49-F238E27FC236}">
                  <a16:creationId xmlns:a16="http://schemas.microsoft.com/office/drawing/2014/main" id="{4878E3C7-DBA6-2955-F5DD-76B24467EF6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5">
              <a:extLst>
                <a:ext uri="{FF2B5EF4-FFF2-40B4-BE49-F238E27FC236}">
                  <a16:creationId xmlns:a16="http://schemas.microsoft.com/office/drawing/2014/main" id="{A42CD898-938B-8B8A-57F1-7473BB7D9F0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6">
              <a:extLst>
                <a:ext uri="{FF2B5EF4-FFF2-40B4-BE49-F238E27FC236}">
                  <a16:creationId xmlns:a16="http://schemas.microsoft.com/office/drawing/2014/main" id="{42E5EB9D-DC15-6E53-C501-B4E0B25E159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27">
              <a:extLst>
                <a:ext uri="{FF2B5EF4-FFF2-40B4-BE49-F238E27FC236}">
                  <a16:creationId xmlns:a16="http://schemas.microsoft.com/office/drawing/2014/main" id="{614E77A8-7697-9CA0-2926-181E398E251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28">
              <a:extLst>
                <a:ext uri="{FF2B5EF4-FFF2-40B4-BE49-F238E27FC236}">
                  <a16:creationId xmlns:a16="http://schemas.microsoft.com/office/drawing/2014/main" id="{F1F64CB8-8D6E-1A9E-9505-DF93E200E00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ED1F8ADE-84C9-774B-4C68-AE3E7371298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56" name="Titel 1">
            <a:extLst>
              <a:ext uri="{FF2B5EF4-FFF2-40B4-BE49-F238E27FC236}">
                <a16:creationId xmlns:a16="http://schemas.microsoft.com/office/drawing/2014/main" id="{BB5090ED-C01C-CFF0-F53C-C02277DEC9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070163"/>
            <a:ext cx="6776583" cy="2082737"/>
          </a:xfrm>
        </p:spPr>
        <p:txBody>
          <a:bodyPr vert="horz" anchor="t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create</a:t>
            </a:r>
            <a:r>
              <a:rPr lang="de-DE" dirty="0"/>
              <a:t> digital </a:t>
            </a:r>
            <a:r>
              <a:rPr lang="de-DE" dirty="0" err="1"/>
              <a:t>futur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sustainable</a:t>
            </a:r>
            <a:r>
              <a:rPr lang="de-DE" dirty="0"/>
              <a:t> </a:t>
            </a:r>
            <a:r>
              <a:rPr lang="de-DE" dirty="0" err="1"/>
              <a:t>impac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world</a:t>
            </a:r>
            <a:r>
              <a:rPr lang="de-DE" dirty="0"/>
              <a:t>.</a:t>
            </a:r>
            <a:endParaRPr lang="en-CA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D924A48-BBBD-C395-CAC0-DB64DA72C549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06452" y="4545128"/>
            <a:ext cx="11377507" cy="1584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CC9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t"/>
          <a:lstStyle/>
          <a:p>
            <a:pPr eaLnBrk="0" hangingPunct="0">
              <a:lnSpc>
                <a:spcPct val="100000"/>
              </a:lnSpc>
              <a:spcBef>
                <a:spcPts val="30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r>
              <a:rPr lang="en-US" sz="1400" b="1" noProof="0">
                <a:solidFill>
                  <a:schemeClr val="bg1"/>
                </a:solidFill>
                <a:latin typeface="+mn-lt"/>
                <a:cs typeface="Segoe UI"/>
              </a:rPr>
              <a:t>MHP Management- und IT-</a:t>
            </a:r>
            <a:r>
              <a:rPr lang="en-US" sz="1400" b="1" noProof="0" err="1">
                <a:solidFill>
                  <a:schemeClr val="bg1"/>
                </a:solidFill>
                <a:latin typeface="+mn-lt"/>
                <a:cs typeface="Segoe UI"/>
              </a:rPr>
              <a:t>Beratung</a:t>
            </a:r>
            <a:r>
              <a:rPr lang="en-US" sz="1400" b="1" noProof="0">
                <a:solidFill>
                  <a:schemeClr val="bg1"/>
                </a:solidFill>
                <a:latin typeface="+mn-lt"/>
                <a:cs typeface="Segoe UI"/>
              </a:rPr>
              <a:t> GmbH</a:t>
            </a:r>
            <a:br>
              <a:rPr lang="en-US" sz="1400" b="1" noProof="0">
                <a:solidFill>
                  <a:schemeClr val="bg1"/>
                </a:solidFill>
                <a:latin typeface="+mn-lt"/>
                <a:cs typeface="Segoe UI"/>
              </a:rPr>
            </a:br>
            <a:br>
              <a:rPr lang="en-US" sz="1400" noProof="0">
                <a:solidFill>
                  <a:schemeClr val="bg1"/>
                </a:solidFill>
                <a:latin typeface="+mn-lt"/>
                <a:cs typeface="Segoe UI"/>
              </a:rPr>
            </a:br>
            <a:r>
              <a:rPr lang="en-US" sz="1400" noProof="0">
                <a:solidFill>
                  <a:schemeClr val="bg1"/>
                </a:solidFill>
                <a:latin typeface="+mn-lt"/>
                <a:cs typeface="Segoe UI"/>
              </a:rPr>
              <a:t>Film- und </a:t>
            </a:r>
            <a:r>
              <a:rPr lang="en-US" sz="1400" noProof="0" err="1">
                <a:solidFill>
                  <a:schemeClr val="bg1"/>
                </a:solidFill>
                <a:latin typeface="+mn-lt"/>
                <a:cs typeface="Segoe UI"/>
              </a:rPr>
              <a:t>Medienzentrum</a:t>
            </a:r>
            <a:r>
              <a:rPr lang="en-US" sz="1400" noProof="0">
                <a:solidFill>
                  <a:schemeClr val="bg1"/>
                </a:solidFill>
                <a:latin typeface="+mn-lt"/>
                <a:cs typeface="Segoe UI"/>
              </a:rPr>
              <a:t> l Königsallee 49 l D-71638 Ludwigsburg</a:t>
            </a:r>
          </a:p>
          <a:p>
            <a:pPr eaLnBrk="0" hangingPunct="0">
              <a:lnSpc>
                <a:spcPct val="100000"/>
              </a:lnSpc>
              <a:spcBef>
                <a:spcPts val="30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r>
              <a:rPr lang="en-US" sz="1400" noProof="0" err="1">
                <a:solidFill>
                  <a:schemeClr val="bg1"/>
                </a:solidFill>
                <a:latin typeface="+mn-lt"/>
                <a:cs typeface="Segoe UI"/>
                <a:sym typeface="Wingdings 2" charset="0"/>
              </a:rPr>
              <a:t>Telefon</a:t>
            </a:r>
            <a:r>
              <a:rPr lang="en-US" sz="1400" noProof="0">
                <a:solidFill>
                  <a:schemeClr val="bg1"/>
                </a:solidFill>
                <a:latin typeface="+mn-lt"/>
                <a:cs typeface="Segoe UI"/>
                <a:sym typeface="Wingdings 2" charset="0"/>
              </a:rPr>
              <a:t> +49 (0)7141 7856-0 l Fax +49 (0)7141 7856-199</a:t>
            </a:r>
          </a:p>
          <a:p>
            <a:pPr eaLnBrk="0" hangingPunct="0">
              <a:lnSpc>
                <a:spcPct val="100000"/>
              </a:lnSpc>
              <a:spcBef>
                <a:spcPts val="30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r>
              <a:rPr lang="en-US" sz="1400" noProof="0">
                <a:solidFill>
                  <a:schemeClr val="bg1"/>
                </a:solidFill>
                <a:latin typeface="+mn-lt"/>
                <a:cs typeface="Segoe UI"/>
                <a:sym typeface="Wingdings 2" charset="0"/>
              </a:rPr>
              <a:t>E-Mail info@mhp.com l Internet www.mhp.com</a:t>
            </a:r>
          </a:p>
        </p:txBody>
      </p:sp>
      <p:sp>
        <p:nvSpPr>
          <p:cNvPr id="10" name="Rechteck 44">
            <a:extLst>
              <a:ext uri="{FF2B5EF4-FFF2-40B4-BE49-F238E27FC236}">
                <a16:creationId xmlns:a16="http://schemas.microsoft.com/office/drawing/2014/main" id="{CE47427F-2449-DAAF-9F7C-F48C9069C274}"/>
              </a:ext>
            </a:extLst>
          </p:cNvPr>
          <p:cNvSpPr/>
          <p:nvPr userDrawn="1"/>
        </p:nvSpPr>
        <p:spPr>
          <a:xfrm>
            <a:off x="12341678" y="0"/>
            <a:ext cx="301275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algn="l"/>
            <a:r>
              <a:rPr lang="en-CA" sz="1400" dirty="0">
                <a:solidFill>
                  <a:schemeClr val="tx2"/>
                </a:solidFill>
              </a:rPr>
              <a:t>To add a background image, right click on slide – “Format Background” – “Picture or texture fill”</a:t>
            </a:r>
          </a:p>
        </p:txBody>
      </p:sp>
    </p:spTree>
    <p:extLst>
      <p:ext uri="{BB962C8B-B14F-4D97-AF65-F5344CB8AC3E}">
        <p14:creationId xmlns:p14="http://schemas.microsoft.com/office/powerpoint/2010/main" val="30486436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Content blu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3270BB7-FAF2-12A2-3E51-CD6FFAABB4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315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270BB7-FAF2-12A2-3E51-CD6FFAABB4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D194ECB-CC32-B9E9-A61F-B149814AF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DF6F4B-1697-75DD-0D00-8453E80EECC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0C577D-249B-E34D-F4DD-C4866A7E8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07F064-BD39-4FE4-B9A2-7344DA85858F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F4C4EE-018F-91D7-2A63-2D3B5AF22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17D222D-8F33-4C88-A6E6-06BD1C7F21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>
                <a:solidFill>
                  <a:schemeClr val="accent3"/>
                </a:solidFill>
              </a:defRPr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33D7364D-EF57-DDDB-03C6-B961279C71A3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grpSp>
        <p:nvGrpSpPr>
          <p:cNvPr id="10" name="Gruppieren 14">
            <a:extLst>
              <a:ext uri="{FF2B5EF4-FFF2-40B4-BE49-F238E27FC236}">
                <a16:creationId xmlns:a16="http://schemas.microsoft.com/office/drawing/2014/main" id="{C09E1D46-46A5-3D54-C019-1C63E6C66C04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2FA0E3D7-083C-5A86-E1D4-A3CC49886A4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Rectangle 8">
              <a:extLst>
                <a:ext uri="{FF2B5EF4-FFF2-40B4-BE49-F238E27FC236}">
                  <a16:creationId xmlns:a16="http://schemas.microsoft.com/office/drawing/2014/main" id="{88421A0A-3E02-6EE0-0E74-C55C717D0F8B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9" name="Rectangle 9">
              <a:extLst>
                <a:ext uri="{FF2B5EF4-FFF2-40B4-BE49-F238E27FC236}">
                  <a16:creationId xmlns:a16="http://schemas.microsoft.com/office/drawing/2014/main" id="{5D8BFC8E-2D61-ADAE-B788-75B469936DF9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726D2CDF-E5F1-ACDA-EBD5-D00B741B98B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1">
              <a:extLst>
                <a:ext uri="{FF2B5EF4-FFF2-40B4-BE49-F238E27FC236}">
                  <a16:creationId xmlns:a16="http://schemas.microsoft.com/office/drawing/2014/main" id="{2B0E86E7-CA94-596F-01BF-9D769FB33EF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2" name="Freeform 12">
              <a:extLst>
                <a:ext uri="{FF2B5EF4-FFF2-40B4-BE49-F238E27FC236}">
                  <a16:creationId xmlns:a16="http://schemas.microsoft.com/office/drawing/2014/main" id="{59A5C195-1D50-165E-5C4D-F0B7018BDA5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3" name="Freeform 13">
              <a:extLst>
                <a:ext uri="{FF2B5EF4-FFF2-40B4-BE49-F238E27FC236}">
                  <a16:creationId xmlns:a16="http://schemas.microsoft.com/office/drawing/2014/main" id="{E3DA5DCA-40B0-0578-A7C0-F3F58106F68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4">
              <a:extLst>
                <a:ext uri="{FF2B5EF4-FFF2-40B4-BE49-F238E27FC236}">
                  <a16:creationId xmlns:a16="http://schemas.microsoft.com/office/drawing/2014/main" id="{B5CDFBB6-0167-AA88-8BE3-13CED893409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5">
              <a:extLst>
                <a:ext uri="{FF2B5EF4-FFF2-40B4-BE49-F238E27FC236}">
                  <a16:creationId xmlns:a16="http://schemas.microsoft.com/office/drawing/2014/main" id="{0C4A6E9B-74DB-E305-2605-D6E95DA6172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16">
              <a:extLst>
                <a:ext uri="{FF2B5EF4-FFF2-40B4-BE49-F238E27FC236}">
                  <a16:creationId xmlns:a16="http://schemas.microsoft.com/office/drawing/2014/main" id="{CBF6EBE3-5056-A4E4-5E03-527D3498C9F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7" name="Freeform 17">
              <a:extLst>
                <a:ext uri="{FF2B5EF4-FFF2-40B4-BE49-F238E27FC236}">
                  <a16:creationId xmlns:a16="http://schemas.microsoft.com/office/drawing/2014/main" id="{DBB6060D-2010-CEB7-F15B-3AB2A6079DE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18">
              <a:extLst>
                <a:ext uri="{FF2B5EF4-FFF2-40B4-BE49-F238E27FC236}">
                  <a16:creationId xmlns:a16="http://schemas.microsoft.com/office/drawing/2014/main" id="{96BB1169-D283-9375-2569-63CC93DFE7B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19">
              <a:extLst>
                <a:ext uri="{FF2B5EF4-FFF2-40B4-BE49-F238E27FC236}">
                  <a16:creationId xmlns:a16="http://schemas.microsoft.com/office/drawing/2014/main" id="{4D80081A-4145-B59C-BA42-D24924FDBD5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20">
              <a:extLst>
                <a:ext uri="{FF2B5EF4-FFF2-40B4-BE49-F238E27FC236}">
                  <a16:creationId xmlns:a16="http://schemas.microsoft.com/office/drawing/2014/main" id="{0254C092-9AFD-83AB-CE41-0F53E02F5AA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1">
              <a:extLst>
                <a:ext uri="{FF2B5EF4-FFF2-40B4-BE49-F238E27FC236}">
                  <a16:creationId xmlns:a16="http://schemas.microsoft.com/office/drawing/2014/main" id="{434E1F29-1E11-6A88-CEC5-4C5E914EA50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2">
              <a:extLst>
                <a:ext uri="{FF2B5EF4-FFF2-40B4-BE49-F238E27FC236}">
                  <a16:creationId xmlns:a16="http://schemas.microsoft.com/office/drawing/2014/main" id="{051E2526-4EF8-1999-B7F1-FBE64E412C9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23">
              <a:extLst>
                <a:ext uri="{FF2B5EF4-FFF2-40B4-BE49-F238E27FC236}">
                  <a16:creationId xmlns:a16="http://schemas.microsoft.com/office/drawing/2014/main" id="{931F73B9-BB0B-08FC-1071-86DBE89528D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24">
              <a:extLst>
                <a:ext uri="{FF2B5EF4-FFF2-40B4-BE49-F238E27FC236}">
                  <a16:creationId xmlns:a16="http://schemas.microsoft.com/office/drawing/2014/main" id="{BA9E7FAE-F16C-28CE-2F24-AEAC209DAF5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25">
              <a:extLst>
                <a:ext uri="{FF2B5EF4-FFF2-40B4-BE49-F238E27FC236}">
                  <a16:creationId xmlns:a16="http://schemas.microsoft.com/office/drawing/2014/main" id="{0F6A27B1-C7CF-9384-C6E9-C4C639E11D3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6" name="Freeform 26">
              <a:extLst>
                <a:ext uri="{FF2B5EF4-FFF2-40B4-BE49-F238E27FC236}">
                  <a16:creationId xmlns:a16="http://schemas.microsoft.com/office/drawing/2014/main" id="{C2F1F720-F4B8-46F4-7C53-01BC9D5C77D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27">
              <a:extLst>
                <a:ext uri="{FF2B5EF4-FFF2-40B4-BE49-F238E27FC236}">
                  <a16:creationId xmlns:a16="http://schemas.microsoft.com/office/drawing/2014/main" id="{2063B4AC-7FEB-1C83-9823-A8B310194E7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8" name="Freeform 28">
              <a:extLst>
                <a:ext uri="{FF2B5EF4-FFF2-40B4-BE49-F238E27FC236}">
                  <a16:creationId xmlns:a16="http://schemas.microsoft.com/office/drawing/2014/main" id="{89CE564A-9B5F-9D40-6E23-7AF9A722AD1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9" name="Freeform 29">
              <a:extLst>
                <a:ext uri="{FF2B5EF4-FFF2-40B4-BE49-F238E27FC236}">
                  <a16:creationId xmlns:a16="http://schemas.microsoft.com/office/drawing/2014/main" id="{01D54C5F-7A46-C805-282D-DFE07D8A3ED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21" name="Rechteck 44">
            <a:extLst>
              <a:ext uri="{FF2B5EF4-FFF2-40B4-BE49-F238E27FC236}">
                <a16:creationId xmlns:a16="http://schemas.microsoft.com/office/drawing/2014/main" id="{3082CC85-8CBD-D424-A5A7-00CF5A3392BF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81184037-107E-DC2C-1D0B-DE2916916D3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563849" y="2349500"/>
            <a:ext cx="4286250" cy="8763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2574A963-2C99-CBA4-8C2E-5F0F6FCDA5B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563848" y="3331754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5572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arrow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3FAC809-F737-0457-5C13-5B83466E7B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6644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FAC809-F737-0457-5C13-5B83466E7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Freihandform: Form 63">
            <a:extLst>
              <a:ext uri="{FF2B5EF4-FFF2-40B4-BE49-F238E27FC236}">
                <a16:creationId xmlns:a16="http://schemas.microsoft.com/office/drawing/2014/main" id="{5D0E5BF0-5C1C-5221-1AA8-D35AC298721C}"/>
              </a:ext>
            </a:extLst>
          </p:cNvPr>
          <p:cNvSpPr/>
          <p:nvPr userDrawn="1"/>
        </p:nvSpPr>
        <p:spPr bwMode="white">
          <a:xfrm rot="5400000">
            <a:off x="2667000" y="-2667000"/>
            <a:ext cx="6858000" cy="12192000"/>
          </a:xfrm>
          <a:custGeom>
            <a:avLst/>
            <a:gdLst>
              <a:gd name="connsiteX0" fmla="*/ 489121 w 6858000"/>
              <a:gd name="connsiteY0" fmla="*/ 12192000 h 12192000"/>
              <a:gd name="connsiteX1" fmla="*/ 3429000 w 6858000"/>
              <a:gd name="connsiteY1" fmla="*/ 9023644 h 12192000"/>
              <a:gd name="connsiteX2" fmla="*/ 6368880 w 6858000"/>
              <a:gd name="connsiteY2" fmla="*/ 12192000 h 12192000"/>
              <a:gd name="connsiteX3" fmla="*/ 0 w 6858000"/>
              <a:gd name="connsiteY3" fmla="*/ 4046244 h 12192000"/>
              <a:gd name="connsiteX4" fmla="*/ 0 w 6858000"/>
              <a:gd name="connsiteY4" fmla="*/ 598373 h 12192000"/>
              <a:gd name="connsiteX5" fmla="*/ 555223 w 6858000"/>
              <a:gd name="connsiteY5" fmla="*/ 0 h 12192000"/>
              <a:gd name="connsiteX6" fmla="*/ 6302777 w 6858000"/>
              <a:gd name="connsiteY6" fmla="*/ 0 h 12192000"/>
              <a:gd name="connsiteX7" fmla="*/ 6858000 w 6858000"/>
              <a:gd name="connsiteY7" fmla="*/ 598373 h 12192000"/>
              <a:gd name="connsiteX8" fmla="*/ 6858000 w 6858000"/>
              <a:gd name="connsiteY8" fmla="*/ 4046244 h 12192000"/>
              <a:gd name="connsiteX9" fmla="*/ 3429000 w 6858000"/>
              <a:gd name="connsiteY9" fmla="*/ 350753 h 12192000"/>
              <a:gd name="connsiteX10" fmla="*/ 0 w 6858000"/>
              <a:gd name="connsiteY10" fmla="*/ 10106624 h 12192000"/>
              <a:gd name="connsiteX11" fmla="*/ 0 w 6858000"/>
              <a:gd name="connsiteY11" fmla="*/ 6658754 h 12192000"/>
              <a:gd name="connsiteX12" fmla="*/ 3429000 w 6858000"/>
              <a:gd name="connsiteY12" fmla="*/ 2963265 h 12192000"/>
              <a:gd name="connsiteX13" fmla="*/ 6858000 w 6858000"/>
              <a:gd name="connsiteY13" fmla="*/ 6658754 h 12192000"/>
              <a:gd name="connsiteX14" fmla="*/ 6858000 w 6858000"/>
              <a:gd name="connsiteY14" fmla="*/ 10106624 h 12192000"/>
              <a:gd name="connsiteX15" fmla="*/ 3429000 w 6858000"/>
              <a:gd name="connsiteY15" fmla="*/ 6411134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858000" h="12192000">
                <a:moveTo>
                  <a:pt x="489121" y="12192000"/>
                </a:moveTo>
                <a:lnTo>
                  <a:pt x="3429000" y="9023644"/>
                </a:lnTo>
                <a:lnTo>
                  <a:pt x="6368880" y="12192000"/>
                </a:lnTo>
                <a:close/>
                <a:moveTo>
                  <a:pt x="0" y="4046244"/>
                </a:moveTo>
                <a:lnTo>
                  <a:pt x="0" y="598373"/>
                </a:lnTo>
                <a:lnTo>
                  <a:pt x="555223" y="0"/>
                </a:lnTo>
                <a:lnTo>
                  <a:pt x="6302777" y="0"/>
                </a:lnTo>
                <a:lnTo>
                  <a:pt x="6858000" y="598373"/>
                </a:lnTo>
                <a:lnTo>
                  <a:pt x="6858000" y="4046244"/>
                </a:lnTo>
                <a:lnTo>
                  <a:pt x="3429000" y="350753"/>
                </a:lnTo>
                <a:close/>
                <a:moveTo>
                  <a:pt x="0" y="10106624"/>
                </a:moveTo>
                <a:lnTo>
                  <a:pt x="0" y="6658754"/>
                </a:lnTo>
                <a:lnTo>
                  <a:pt x="3429000" y="2963265"/>
                </a:lnTo>
                <a:lnTo>
                  <a:pt x="6858000" y="6658754"/>
                </a:lnTo>
                <a:lnTo>
                  <a:pt x="6858000" y="10106624"/>
                </a:lnTo>
                <a:lnTo>
                  <a:pt x="3429000" y="6411134"/>
                </a:lnTo>
                <a:close/>
              </a:path>
            </a:pathLst>
          </a:custGeom>
          <a:solidFill>
            <a:schemeClr val="accent1">
              <a:alpha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en-US" sz="1400" b="1">
              <a:solidFill>
                <a:schemeClr val="bg1"/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5EE187F-F997-81B4-655B-7B76AE9F15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07988" y="2123554"/>
            <a:ext cx="1130366" cy="405189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wrap="none" lIns="72000" tIns="36000" rIns="72000" bIns="36000" anchor="ctr">
            <a:spAutoFit/>
          </a:bodyPr>
          <a:lstStyle>
            <a:lvl1pPr marL="0" indent="0" algn="l"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Chapter 00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290210C-3ED0-44C2-504A-8182691175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CDB484A-FFE6-4ECB-9792-B0EDF5BB6553}" type="datetime1">
              <a:rPr lang="de-DE" smtClean="0"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C423745-18E9-BD8D-8A5E-982798CD86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4C80E508-4AC3-3000-0607-EC1A86CB453D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grpSp>
        <p:nvGrpSpPr>
          <p:cNvPr id="5" name="Gruppieren 14">
            <a:extLst>
              <a:ext uri="{FF2B5EF4-FFF2-40B4-BE49-F238E27FC236}">
                <a16:creationId xmlns:a16="http://schemas.microsoft.com/office/drawing/2014/main" id="{0744267D-F4FB-AE39-3047-AB1269AD01A3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024D6778-05E3-D880-B54F-6F187D25894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4" name="Rectangle 8">
              <a:extLst>
                <a:ext uri="{FF2B5EF4-FFF2-40B4-BE49-F238E27FC236}">
                  <a16:creationId xmlns:a16="http://schemas.microsoft.com/office/drawing/2014/main" id="{946D438B-8E04-D20A-A36F-2866F7D66699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6E28CF8E-B4CD-C273-5B41-A8B3E084ADFB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089A5C8F-F4FB-C007-934D-5AAB3D02218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58B103C3-C2E9-4DF0-5DC3-A6AD35E0993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8587A43E-BB25-79EF-53CB-5F1EC5408E1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6C7B9EB7-E823-2966-9EA0-5A0A9788445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F9CC2457-FCB9-3F83-5D9C-C3EBA0F3316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E37C9A3D-1832-E518-09B2-30B05CB1E35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279A0D2C-4C32-B3D5-DDEF-1BB58AEA7B9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435FD5C5-ED4A-C1EE-7C92-9AC108D721A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0BBF400D-05FF-44A0-4723-0923EAE9D87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C303CBB9-5287-73F6-D1B9-B816C1EFEFD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20">
              <a:extLst>
                <a:ext uri="{FF2B5EF4-FFF2-40B4-BE49-F238E27FC236}">
                  <a16:creationId xmlns:a16="http://schemas.microsoft.com/office/drawing/2014/main" id="{16EF84C1-C142-8733-B98F-4231F230B5F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7" name="Freeform 21">
              <a:extLst>
                <a:ext uri="{FF2B5EF4-FFF2-40B4-BE49-F238E27FC236}">
                  <a16:creationId xmlns:a16="http://schemas.microsoft.com/office/drawing/2014/main" id="{34D9BFCC-BED8-6450-31B5-ADBBD9688C2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22">
              <a:extLst>
                <a:ext uri="{FF2B5EF4-FFF2-40B4-BE49-F238E27FC236}">
                  <a16:creationId xmlns:a16="http://schemas.microsoft.com/office/drawing/2014/main" id="{F5BA6C4B-9B36-9806-6F28-0CF3EE54971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23">
              <a:extLst>
                <a:ext uri="{FF2B5EF4-FFF2-40B4-BE49-F238E27FC236}">
                  <a16:creationId xmlns:a16="http://schemas.microsoft.com/office/drawing/2014/main" id="{71EB9DB3-276C-BD91-8169-28BC41F466B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24">
              <a:extLst>
                <a:ext uri="{FF2B5EF4-FFF2-40B4-BE49-F238E27FC236}">
                  <a16:creationId xmlns:a16="http://schemas.microsoft.com/office/drawing/2014/main" id="{4878E3C7-DBA6-2955-F5DD-76B24467EF6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5">
              <a:extLst>
                <a:ext uri="{FF2B5EF4-FFF2-40B4-BE49-F238E27FC236}">
                  <a16:creationId xmlns:a16="http://schemas.microsoft.com/office/drawing/2014/main" id="{A42CD898-938B-8B8A-57F1-7473BB7D9F0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6">
              <a:extLst>
                <a:ext uri="{FF2B5EF4-FFF2-40B4-BE49-F238E27FC236}">
                  <a16:creationId xmlns:a16="http://schemas.microsoft.com/office/drawing/2014/main" id="{42E5EB9D-DC15-6E53-C501-B4E0B25E159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27">
              <a:extLst>
                <a:ext uri="{FF2B5EF4-FFF2-40B4-BE49-F238E27FC236}">
                  <a16:creationId xmlns:a16="http://schemas.microsoft.com/office/drawing/2014/main" id="{614E77A8-7697-9CA0-2926-181E398E251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28">
              <a:extLst>
                <a:ext uri="{FF2B5EF4-FFF2-40B4-BE49-F238E27FC236}">
                  <a16:creationId xmlns:a16="http://schemas.microsoft.com/office/drawing/2014/main" id="{F1F64CB8-8D6E-1A9E-9505-DF93E200E00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ED1F8ADE-84C9-774B-4C68-AE3E7371298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56" name="Titel 1">
            <a:extLst>
              <a:ext uri="{FF2B5EF4-FFF2-40B4-BE49-F238E27FC236}">
                <a16:creationId xmlns:a16="http://schemas.microsoft.com/office/drawing/2014/main" id="{BB5090ED-C01C-CFF0-F53C-C02277DEC9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3004537"/>
            <a:ext cx="7740650" cy="738664"/>
          </a:xfrm>
        </p:spPr>
        <p:txBody>
          <a:bodyPr vert="horz" anchor="ctr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Chapter title</a:t>
            </a:r>
            <a:endParaRPr lang="en-CA" dirty="0"/>
          </a:p>
        </p:txBody>
      </p:sp>
      <p:sp>
        <p:nvSpPr>
          <p:cNvPr id="57" name="Textplatzhalter 7">
            <a:extLst>
              <a:ext uri="{FF2B5EF4-FFF2-40B4-BE49-F238E27FC236}">
                <a16:creationId xmlns:a16="http://schemas.microsoft.com/office/drawing/2014/main" id="{3B2E38A7-4B3C-A9D5-5118-B774492640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8" y="4218995"/>
            <a:ext cx="7740650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252000" indent="0">
              <a:buNone/>
              <a:defRPr/>
            </a:lvl2pPr>
            <a:lvl3pPr marL="504000" indent="0">
              <a:buNone/>
              <a:defRPr/>
            </a:lvl3pPr>
            <a:lvl4pPr marL="756000" indent="0">
              <a:buNone/>
              <a:defRPr/>
            </a:lvl4pPr>
            <a:lvl5pPr marL="1008000" indent="0">
              <a:buNone/>
              <a:defRPr/>
            </a:lvl5pPr>
          </a:lstStyle>
          <a:p>
            <a:pPr lvl="0"/>
            <a:r>
              <a:rPr lang="de-DE" err="1"/>
              <a:t>Subtitle</a:t>
            </a:r>
            <a:endParaRPr lang="en-CA"/>
          </a:p>
        </p:txBody>
      </p:sp>
      <p:sp>
        <p:nvSpPr>
          <p:cNvPr id="2" name="Rechteck 44">
            <a:extLst>
              <a:ext uri="{FF2B5EF4-FFF2-40B4-BE49-F238E27FC236}">
                <a16:creationId xmlns:a16="http://schemas.microsoft.com/office/drawing/2014/main" id="{6F628358-D23A-5EF3-F88F-4EC236CDD75D}"/>
              </a:ext>
            </a:extLst>
          </p:cNvPr>
          <p:cNvSpPr/>
          <p:nvPr userDrawn="1"/>
        </p:nvSpPr>
        <p:spPr>
          <a:xfrm>
            <a:off x="12341678" y="0"/>
            <a:ext cx="301275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algn="l"/>
            <a:r>
              <a:rPr lang="en-CA" sz="1400" dirty="0">
                <a:solidFill>
                  <a:schemeClr val="tx2"/>
                </a:solidFill>
              </a:rPr>
              <a:t>Please do not add a background image on this layout -&gt; instead use the layout called ‘Chapter slide image’</a:t>
            </a:r>
          </a:p>
        </p:txBody>
      </p:sp>
    </p:spTree>
    <p:extLst>
      <p:ext uri="{BB962C8B-B14F-4D97-AF65-F5344CB8AC3E}">
        <p14:creationId xmlns:p14="http://schemas.microsoft.com/office/powerpoint/2010/main" val="8622998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imag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3FAC809-F737-0457-5C13-5B83466E7B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5872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FAC809-F737-0457-5C13-5B83466E7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C8D19AB6-4E30-E846-4ADA-73417F541964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>
                  <a:alpha val="95000"/>
                </a:schemeClr>
              </a:gs>
              <a:gs pos="100000">
                <a:srgbClr val="3264FF">
                  <a:alpha val="90000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CA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0E2C01-1C5C-08E3-B4AE-9045ECD03F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3004537"/>
            <a:ext cx="7740650" cy="738664"/>
          </a:xfrm>
        </p:spPr>
        <p:txBody>
          <a:bodyPr vert="horz" anchor="ctr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Chapter title</a:t>
            </a:r>
            <a:endParaRPr lang="en-CA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5EE187F-F997-81B4-655B-7B76AE9F15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07988" y="2123554"/>
            <a:ext cx="1130366" cy="405189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wrap="none" lIns="72000" tIns="36000" rIns="72000" bIns="36000" anchor="ctr">
            <a:spAutoFit/>
          </a:bodyPr>
          <a:lstStyle>
            <a:lvl1pPr marL="0" indent="0" algn="l"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Chapter 00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290210C-3ED0-44C2-504A-8182691175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CDB484A-FFE6-4ECB-9792-B0EDF5BB6553}" type="datetime1">
              <a:rPr lang="de-DE" smtClean="0"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C423745-18E9-BD8D-8A5E-982798CD86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4C80E508-4AC3-3000-0607-EC1A86CB453D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F2C78A-F17F-D69F-DE65-3AAA5B985B2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8" y="4218995"/>
            <a:ext cx="7740650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252000" indent="0">
              <a:buNone/>
              <a:defRPr/>
            </a:lvl2pPr>
            <a:lvl3pPr marL="504000" indent="0">
              <a:buNone/>
              <a:defRPr/>
            </a:lvl3pPr>
            <a:lvl4pPr marL="756000" indent="0">
              <a:buNone/>
              <a:defRPr/>
            </a:lvl4pPr>
            <a:lvl5pPr marL="1008000" indent="0">
              <a:buNone/>
              <a:defRPr/>
            </a:lvl5pPr>
          </a:lstStyle>
          <a:p>
            <a:pPr lvl="0"/>
            <a:r>
              <a:rPr lang="de-DE" err="1"/>
              <a:t>Subtitle</a:t>
            </a:r>
            <a:endParaRPr lang="en-CA"/>
          </a:p>
        </p:txBody>
      </p:sp>
      <p:grpSp>
        <p:nvGrpSpPr>
          <p:cNvPr id="5" name="Gruppieren 14">
            <a:extLst>
              <a:ext uri="{FF2B5EF4-FFF2-40B4-BE49-F238E27FC236}">
                <a16:creationId xmlns:a16="http://schemas.microsoft.com/office/drawing/2014/main" id="{87595425-72BB-6467-CBAA-0E4D5B4F9CEE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id="{FF41A7C1-B4E6-E293-F6E1-B7039722361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5" name="Rectangle 8">
              <a:extLst>
                <a:ext uri="{FF2B5EF4-FFF2-40B4-BE49-F238E27FC236}">
                  <a16:creationId xmlns:a16="http://schemas.microsoft.com/office/drawing/2014/main" id="{390EC050-BC38-98A8-F380-7DA1762F56FB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6" name="Rectangle 9">
              <a:extLst>
                <a:ext uri="{FF2B5EF4-FFF2-40B4-BE49-F238E27FC236}">
                  <a16:creationId xmlns:a16="http://schemas.microsoft.com/office/drawing/2014/main" id="{47571E74-E8F0-142E-79C0-B3894C3D86FC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49526A01-918F-C967-AE05-063633B3F3E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249F4816-53B1-9D3E-5B54-DD8AFF1F5E2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9" name="Freeform 12">
              <a:extLst>
                <a:ext uri="{FF2B5EF4-FFF2-40B4-BE49-F238E27FC236}">
                  <a16:creationId xmlns:a16="http://schemas.microsoft.com/office/drawing/2014/main" id="{5C94EA22-F7CA-03B2-78C5-C1D0E395EB5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0" name="Freeform 13">
              <a:extLst>
                <a:ext uri="{FF2B5EF4-FFF2-40B4-BE49-F238E27FC236}">
                  <a16:creationId xmlns:a16="http://schemas.microsoft.com/office/drawing/2014/main" id="{4945CF0D-0E6B-FD99-79A2-E5F9E764C8A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EA40B853-111B-016E-D2BC-2D74504603F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50F8BC85-9386-4C98-F25D-0C81B96E186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3" name="Freeform 16">
              <a:extLst>
                <a:ext uri="{FF2B5EF4-FFF2-40B4-BE49-F238E27FC236}">
                  <a16:creationId xmlns:a16="http://schemas.microsoft.com/office/drawing/2014/main" id="{1C72DFA5-34E2-04C4-8A68-008663B1B26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7">
              <a:extLst>
                <a:ext uri="{FF2B5EF4-FFF2-40B4-BE49-F238E27FC236}">
                  <a16:creationId xmlns:a16="http://schemas.microsoft.com/office/drawing/2014/main" id="{6F640F1E-02AE-CA05-7A59-D1BD5CA2049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8">
              <a:extLst>
                <a:ext uri="{FF2B5EF4-FFF2-40B4-BE49-F238E27FC236}">
                  <a16:creationId xmlns:a16="http://schemas.microsoft.com/office/drawing/2014/main" id="{27E57EE8-C21D-8233-3717-E313B2BBE39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19">
              <a:extLst>
                <a:ext uri="{FF2B5EF4-FFF2-40B4-BE49-F238E27FC236}">
                  <a16:creationId xmlns:a16="http://schemas.microsoft.com/office/drawing/2014/main" id="{C3248C9F-E3F5-4749-12E6-1D3980B98C3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7" name="Freeform 20">
              <a:extLst>
                <a:ext uri="{FF2B5EF4-FFF2-40B4-BE49-F238E27FC236}">
                  <a16:creationId xmlns:a16="http://schemas.microsoft.com/office/drawing/2014/main" id="{5B3B8D41-491A-4742-43E8-127761AF0A9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21">
              <a:extLst>
                <a:ext uri="{FF2B5EF4-FFF2-40B4-BE49-F238E27FC236}">
                  <a16:creationId xmlns:a16="http://schemas.microsoft.com/office/drawing/2014/main" id="{4671FA6B-FCEA-917D-E1F8-657E61BAC67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22">
              <a:extLst>
                <a:ext uri="{FF2B5EF4-FFF2-40B4-BE49-F238E27FC236}">
                  <a16:creationId xmlns:a16="http://schemas.microsoft.com/office/drawing/2014/main" id="{9B1A39B2-893D-8EA2-B210-924E8F9F719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23">
              <a:extLst>
                <a:ext uri="{FF2B5EF4-FFF2-40B4-BE49-F238E27FC236}">
                  <a16:creationId xmlns:a16="http://schemas.microsoft.com/office/drawing/2014/main" id="{9EC34EC2-AC10-279B-5B2A-540F78C3F75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4">
              <a:extLst>
                <a:ext uri="{FF2B5EF4-FFF2-40B4-BE49-F238E27FC236}">
                  <a16:creationId xmlns:a16="http://schemas.microsoft.com/office/drawing/2014/main" id="{E6773A52-56F3-308C-DB75-2117F333586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5">
              <a:extLst>
                <a:ext uri="{FF2B5EF4-FFF2-40B4-BE49-F238E27FC236}">
                  <a16:creationId xmlns:a16="http://schemas.microsoft.com/office/drawing/2014/main" id="{9B20E507-D2CD-4B85-5373-51304547A4F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26">
              <a:extLst>
                <a:ext uri="{FF2B5EF4-FFF2-40B4-BE49-F238E27FC236}">
                  <a16:creationId xmlns:a16="http://schemas.microsoft.com/office/drawing/2014/main" id="{6592A82F-A22F-1610-BDB9-FBB435A721D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27">
              <a:extLst>
                <a:ext uri="{FF2B5EF4-FFF2-40B4-BE49-F238E27FC236}">
                  <a16:creationId xmlns:a16="http://schemas.microsoft.com/office/drawing/2014/main" id="{E162A311-62A8-F041-C959-48C3298CE19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28">
              <a:extLst>
                <a:ext uri="{FF2B5EF4-FFF2-40B4-BE49-F238E27FC236}">
                  <a16:creationId xmlns:a16="http://schemas.microsoft.com/office/drawing/2014/main" id="{12F1658C-9E86-1872-CE7E-0C729E7D02C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6" name="Freeform 29">
              <a:extLst>
                <a:ext uri="{FF2B5EF4-FFF2-40B4-BE49-F238E27FC236}">
                  <a16:creationId xmlns:a16="http://schemas.microsoft.com/office/drawing/2014/main" id="{413830A0-E8F4-0717-089F-8AF0490329F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10" name="Rechteck 44">
            <a:extLst>
              <a:ext uri="{FF2B5EF4-FFF2-40B4-BE49-F238E27FC236}">
                <a16:creationId xmlns:a16="http://schemas.microsoft.com/office/drawing/2014/main" id="{538245EB-181F-A88D-D2E9-5B5BABD11AAB}"/>
              </a:ext>
            </a:extLst>
          </p:cNvPr>
          <p:cNvSpPr/>
          <p:nvPr userDrawn="1"/>
        </p:nvSpPr>
        <p:spPr>
          <a:xfrm>
            <a:off x="12341678" y="0"/>
            <a:ext cx="301275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algn="l"/>
            <a:r>
              <a:rPr lang="en-CA" sz="1400" dirty="0">
                <a:solidFill>
                  <a:schemeClr val="tx2"/>
                </a:solidFill>
              </a:rPr>
              <a:t>To add a background image, right click on slide – “Format Background” – “Picture or texture fill”</a:t>
            </a:r>
          </a:p>
        </p:txBody>
      </p:sp>
    </p:spTree>
    <p:extLst>
      <p:ext uri="{BB962C8B-B14F-4D97-AF65-F5344CB8AC3E}">
        <p14:creationId xmlns:p14="http://schemas.microsoft.com/office/powerpoint/2010/main" val="19377682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&amp; imag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3FAC809-F737-0457-5C13-5B83466E7B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8559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FAC809-F737-0457-5C13-5B83466E7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Bildplatzhalter 39">
            <a:extLst>
              <a:ext uri="{FF2B5EF4-FFF2-40B4-BE49-F238E27FC236}">
                <a16:creationId xmlns:a16="http://schemas.microsoft.com/office/drawing/2014/main" id="{9BDF8D81-914C-696F-172A-8DF5F0EB268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267200" cy="6858000"/>
          </a:xfrm>
          <a:solidFill>
            <a:schemeClr val="bg2"/>
          </a:solidFill>
        </p:spPr>
        <p:txBody>
          <a:bodyPr lIns="144000" tIns="144000" rIns="144000" bIns="144000"/>
          <a:lstStyle>
            <a:lvl1pPr marL="0" indent="0">
              <a:buNone/>
              <a:defRPr sz="1400"/>
            </a:lvl1pPr>
          </a:lstStyle>
          <a:p>
            <a:endParaRPr lang="en-CA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0E2C01-1C5C-08E3-B4AE-9045ECD03F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5819" y="3004537"/>
            <a:ext cx="7128193" cy="738664"/>
          </a:xfrm>
        </p:spPr>
        <p:txBody>
          <a:bodyPr vert="horz" anchor="ctr"/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de-DE"/>
              <a:t>Chapter title</a:t>
            </a:r>
            <a:endParaRPr lang="en-CA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5EE187F-F997-81B4-655B-7B76AE9F15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655820" y="2123554"/>
            <a:ext cx="1130366" cy="405189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wrap="none" lIns="72000" tIns="36000" rIns="72000" bIns="36000" anchor="ctr">
            <a:spAutoFit/>
          </a:bodyPr>
          <a:lstStyle>
            <a:lvl1pPr marL="0" indent="0" algn="l"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Chapter 00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290210C-3ED0-44C2-504A-8182691175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35CBF7A-EE0B-4631-A87E-2CBB37A3E089}" type="datetime1">
              <a:rPr lang="de-DE" smtClean="0"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C423745-18E9-BD8D-8A5E-982798CD86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A948BC8-97AB-CC70-6689-96432FD79C6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7" y="6597650"/>
            <a:ext cx="3306762" cy="153888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© </a:t>
            </a:r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MHP Management- und IT-Beratung GmbH</a:t>
            </a:r>
            <a:r>
              <a:rPr lang="de-DE"/>
              <a:t> </a:t>
            </a:r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681C405-DE08-DE98-A6D6-0EBBDF4F9C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56138" y="4218995"/>
            <a:ext cx="7127875" cy="276999"/>
          </a:xfrm>
        </p:spPr>
        <p:txBody>
          <a:bodyPr>
            <a:spAutoFit/>
          </a:bodyPr>
          <a:lstStyle>
            <a:lvl1pPr marL="0" indent="0">
              <a:buNone/>
              <a:defRPr sz="1800"/>
            </a:lvl1pPr>
            <a:lvl2pPr marL="252000" indent="0">
              <a:buNone/>
              <a:defRPr/>
            </a:lvl2pPr>
            <a:lvl3pPr marL="504000" indent="0">
              <a:buNone/>
              <a:defRPr/>
            </a:lvl3pPr>
            <a:lvl4pPr marL="756000" indent="0">
              <a:buNone/>
              <a:defRPr/>
            </a:lvl4pPr>
            <a:lvl5pPr marL="1008000" indent="0">
              <a:buNone/>
              <a:defRPr/>
            </a:lvl5pPr>
          </a:lstStyle>
          <a:p>
            <a:pPr lvl="0"/>
            <a:r>
              <a:rPr lang="de-DE" err="1"/>
              <a:t>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0795335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&amp; image blu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3FAC809-F737-0457-5C13-5B83466E7B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2281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FAC809-F737-0457-5C13-5B83466E7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Bildplatzhalter 39">
            <a:extLst>
              <a:ext uri="{FF2B5EF4-FFF2-40B4-BE49-F238E27FC236}">
                <a16:creationId xmlns:a16="http://schemas.microsoft.com/office/drawing/2014/main" id="{9BDF8D81-914C-696F-172A-8DF5F0EB268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267200" cy="6858000"/>
          </a:xfrm>
          <a:solidFill>
            <a:schemeClr val="bg2"/>
          </a:solidFill>
        </p:spPr>
        <p:txBody>
          <a:bodyPr lIns="144000" tIns="144000" rIns="144000" bIns="144000"/>
          <a:lstStyle>
            <a:lvl1pPr marL="0" indent="0">
              <a:buNone/>
              <a:defRPr sz="1400"/>
            </a:lvl1pPr>
          </a:lstStyle>
          <a:p>
            <a:endParaRPr lang="en-CA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0E2C01-1C5C-08E3-B4AE-9045ECD03F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5819" y="3004537"/>
            <a:ext cx="7128193" cy="738664"/>
          </a:xfrm>
        </p:spPr>
        <p:txBody>
          <a:bodyPr vert="horz" anchor="ctr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Chapter title</a:t>
            </a:r>
            <a:endParaRPr lang="en-CA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5EE187F-F997-81B4-655B-7B76AE9F15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655820" y="2123554"/>
            <a:ext cx="1130366" cy="405189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wrap="none" lIns="72000" tIns="36000" rIns="72000" bIns="36000" anchor="ctr">
            <a:spAutoFit/>
          </a:bodyPr>
          <a:lstStyle>
            <a:lvl1pPr marL="0" indent="0" algn="l"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Chapter 00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290210C-3ED0-44C2-504A-8182691175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5CBF7A-EE0B-4631-A87E-2CBB37A3E089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C423745-18E9-BD8D-8A5E-982798CD86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A948BC8-97AB-CC70-6689-96432FD79C6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7" y="6597650"/>
            <a:ext cx="3306762" cy="153888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© </a:t>
            </a:r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MHP Management- und IT-Beratung GmbH</a:t>
            </a:r>
            <a:r>
              <a:rPr lang="de-DE"/>
              <a:t> </a:t>
            </a:r>
            <a:endParaRPr lang="en-CA"/>
          </a:p>
        </p:txBody>
      </p:sp>
      <p:sp>
        <p:nvSpPr>
          <p:cNvPr id="33" name="Textplatzhalter 7">
            <a:extLst>
              <a:ext uri="{FF2B5EF4-FFF2-40B4-BE49-F238E27FC236}">
                <a16:creationId xmlns:a16="http://schemas.microsoft.com/office/drawing/2014/main" id="{64398793-9CCF-65BC-B647-7335467C8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56138" y="4218995"/>
            <a:ext cx="7127875" cy="276999"/>
          </a:xfrm>
        </p:spPr>
        <p:txBody>
          <a:bodyPr>
            <a:sp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252000" indent="0">
              <a:buNone/>
              <a:defRPr/>
            </a:lvl2pPr>
            <a:lvl3pPr marL="504000" indent="0">
              <a:buNone/>
              <a:defRPr/>
            </a:lvl3pPr>
            <a:lvl4pPr marL="756000" indent="0">
              <a:buNone/>
              <a:defRPr/>
            </a:lvl4pPr>
            <a:lvl5pPr marL="1008000" indent="0">
              <a:buNone/>
              <a:defRPr/>
            </a:lvl5pPr>
          </a:lstStyle>
          <a:p>
            <a:pPr lvl="0"/>
            <a:r>
              <a:rPr lang="de-DE" err="1"/>
              <a:t>Subtitle</a:t>
            </a:r>
            <a:endParaRPr lang="en-CA"/>
          </a:p>
        </p:txBody>
      </p:sp>
      <p:grpSp>
        <p:nvGrpSpPr>
          <p:cNvPr id="5" name="Gruppieren 14">
            <a:extLst>
              <a:ext uri="{FF2B5EF4-FFF2-40B4-BE49-F238E27FC236}">
                <a16:creationId xmlns:a16="http://schemas.microsoft.com/office/drawing/2014/main" id="{E2A26C6C-2BE8-B8B7-0271-3C89E7129CC4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id="{66BA37E6-2596-F15F-3BB1-1DDBDD8E10C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5" name="Rectangle 8">
              <a:extLst>
                <a:ext uri="{FF2B5EF4-FFF2-40B4-BE49-F238E27FC236}">
                  <a16:creationId xmlns:a16="http://schemas.microsoft.com/office/drawing/2014/main" id="{649C6C5C-4558-B7A1-EA08-D3B77F14F1B8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6" name="Rectangle 9">
              <a:extLst>
                <a:ext uri="{FF2B5EF4-FFF2-40B4-BE49-F238E27FC236}">
                  <a16:creationId xmlns:a16="http://schemas.microsoft.com/office/drawing/2014/main" id="{A53579CB-02DB-406E-098D-7FAFFD6265E6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2552C423-CA58-8260-D3DA-3CDCA798A2F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06563947-0226-8A0D-FEAB-53A1F6FA12B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9" name="Freeform 12">
              <a:extLst>
                <a:ext uri="{FF2B5EF4-FFF2-40B4-BE49-F238E27FC236}">
                  <a16:creationId xmlns:a16="http://schemas.microsoft.com/office/drawing/2014/main" id="{B88821C5-14AA-6E34-3676-E11DEE3EB57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867619AC-8F5F-D82B-AFBC-14150E95AD3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001FB593-0F6F-F3F5-06D3-63DED8DEC8D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3" name="Freeform 15">
              <a:extLst>
                <a:ext uri="{FF2B5EF4-FFF2-40B4-BE49-F238E27FC236}">
                  <a16:creationId xmlns:a16="http://schemas.microsoft.com/office/drawing/2014/main" id="{CAE545EF-5664-2085-AC8E-B3C2014DBB5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6">
              <a:extLst>
                <a:ext uri="{FF2B5EF4-FFF2-40B4-BE49-F238E27FC236}">
                  <a16:creationId xmlns:a16="http://schemas.microsoft.com/office/drawing/2014/main" id="{E115F5F1-6AC6-DB28-A6B0-94FFEFEEFE0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232D2354-B8FB-D56C-EFD1-B5B6B8C6E1E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18">
              <a:extLst>
                <a:ext uri="{FF2B5EF4-FFF2-40B4-BE49-F238E27FC236}">
                  <a16:creationId xmlns:a16="http://schemas.microsoft.com/office/drawing/2014/main" id="{1EBD56AD-850C-862C-F3B2-2B234AD115A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7" name="Freeform 19">
              <a:extLst>
                <a:ext uri="{FF2B5EF4-FFF2-40B4-BE49-F238E27FC236}">
                  <a16:creationId xmlns:a16="http://schemas.microsoft.com/office/drawing/2014/main" id="{F85F3CC6-0427-D3B4-5080-81474122E79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20">
              <a:extLst>
                <a:ext uri="{FF2B5EF4-FFF2-40B4-BE49-F238E27FC236}">
                  <a16:creationId xmlns:a16="http://schemas.microsoft.com/office/drawing/2014/main" id="{9FC3DA80-13EA-5294-1DFD-656096D9612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21">
              <a:extLst>
                <a:ext uri="{FF2B5EF4-FFF2-40B4-BE49-F238E27FC236}">
                  <a16:creationId xmlns:a16="http://schemas.microsoft.com/office/drawing/2014/main" id="{EB5586A6-FE3F-340F-8D97-34808CBEB0E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22">
              <a:extLst>
                <a:ext uri="{FF2B5EF4-FFF2-40B4-BE49-F238E27FC236}">
                  <a16:creationId xmlns:a16="http://schemas.microsoft.com/office/drawing/2014/main" id="{F74E24BA-802A-C75A-E05B-5F8DF21FE97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3">
              <a:extLst>
                <a:ext uri="{FF2B5EF4-FFF2-40B4-BE49-F238E27FC236}">
                  <a16:creationId xmlns:a16="http://schemas.microsoft.com/office/drawing/2014/main" id="{C1873FAC-D6C3-E03D-B6D7-FA2256DEFE1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4">
              <a:extLst>
                <a:ext uri="{FF2B5EF4-FFF2-40B4-BE49-F238E27FC236}">
                  <a16:creationId xmlns:a16="http://schemas.microsoft.com/office/drawing/2014/main" id="{593F78A4-C7B9-3AF9-F9B4-C64FF40F86F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25">
              <a:extLst>
                <a:ext uri="{FF2B5EF4-FFF2-40B4-BE49-F238E27FC236}">
                  <a16:creationId xmlns:a16="http://schemas.microsoft.com/office/drawing/2014/main" id="{73CA9998-E622-2888-D878-7E7E12A87C2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26">
              <a:extLst>
                <a:ext uri="{FF2B5EF4-FFF2-40B4-BE49-F238E27FC236}">
                  <a16:creationId xmlns:a16="http://schemas.microsoft.com/office/drawing/2014/main" id="{F1687C6F-D24D-D5EF-AF1B-AADD7B707E2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27">
              <a:extLst>
                <a:ext uri="{FF2B5EF4-FFF2-40B4-BE49-F238E27FC236}">
                  <a16:creationId xmlns:a16="http://schemas.microsoft.com/office/drawing/2014/main" id="{CF8C353F-8045-3DA0-34E1-ED91689B44E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6" name="Freeform 28">
              <a:extLst>
                <a:ext uri="{FF2B5EF4-FFF2-40B4-BE49-F238E27FC236}">
                  <a16:creationId xmlns:a16="http://schemas.microsoft.com/office/drawing/2014/main" id="{8452796D-492E-A581-B284-75D40C92595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29">
              <a:extLst>
                <a:ext uri="{FF2B5EF4-FFF2-40B4-BE49-F238E27FC236}">
                  <a16:creationId xmlns:a16="http://schemas.microsoft.com/office/drawing/2014/main" id="{BD6B8539-489D-A866-CC83-0C59B63A535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</p:spTree>
    <p:extLst>
      <p:ext uri="{BB962C8B-B14F-4D97-AF65-F5344CB8AC3E}">
        <p14:creationId xmlns:p14="http://schemas.microsoft.com/office/powerpoint/2010/main" val="26937874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blue_2 lines 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A39D31F-72A1-9494-80EA-D2C514D6A5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5414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39D31F-72A1-9494-80EA-D2C514D6A5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9DAC3153-1126-FD5E-A137-BD36F495AEB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 bwMode="white">
          <a:xfrm>
            <a:off x="0" y="0"/>
            <a:ext cx="12192000" cy="6857999"/>
          </a:xfrm>
          <a:prstGeom prst="rect">
            <a:avLst/>
          </a:prstGeom>
          <a:gradFill>
            <a:gsLst>
              <a:gs pos="0">
                <a:schemeClr val="accent1">
                  <a:alpha val="95000"/>
                </a:schemeClr>
              </a:gs>
              <a:gs pos="100000">
                <a:srgbClr val="3264FF">
                  <a:alpha val="90000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CA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2C73B73-121B-A755-A619-61DA9EB430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484313"/>
            <a:ext cx="3490912" cy="677108"/>
          </a:xfrm>
        </p:spPr>
        <p:txBody>
          <a:bodyPr vert="horz"/>
          <a:lstStyle>
            <a:lvl1pPr>
              <a:defRPr sz="44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Agenda</a:t>
            </a:r>
            <a:endParaRPr lang="en-CA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7C8D850-AF7E-8F4D-CEF3-B47C121EC3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226954-6933-4634-9F99-3CCD2EC48874}" type="datetime1">
              <a:rPr lang="de-DE" smtClean="0"/>
              <a:t>27.01.25</a:t>
            </a:fld>
            <a:endParaRPr lang="en-CA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89C0FBA-71BD-3026-F678-D62D69D42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83" name="Textplatzhalter 82">
            <a:extLst>
              <a:ext uri="{FF2B5EF4-FFF2-40B4-BE49-F238E27FC236}">
                <a16:creationId xmlns:a16="http://schemas.microsoft.com/office/drawing/2014/main" id="{C9B30888-BB4F-08DD-5BD9-E0F0321083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87340" y="2591136"/>
            <a:ext cx="6401434" cy="276999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1</a:t>
            </a:r>
            <a:endParaRPr lang="en-CA"/>
          </a:p>
        </p:txBody>
      </p:sp>
      <p:sp>
        <p:nvSpPr>
          <p:cNvPr id="6" name="Textplatzhalter 82">
            <a:extLst>
              <a:ext uri="{FF2B5EF4-FFF2-40B4-BE49-F238E27FC236}">
                <a16:creationId xmlns:a16="http://schemas.microsoft.com/office/drawing/2014/main" id="{EF8223E1-9936-304C-4CB9-D510DBC0C0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87340" y="2938873"/>
            <a:ext cx="6401434" cy="184666"/>
          </a:xfrm>
        </p:spPr>
        <p:txBody>
          <a:bodyPr wrap="square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Details (</a:t>
            </a:r>
            <a:r>
              <a:rPr lang="de-DE" err="1"/>
              <a:t>presenter</a:t>
            </a:r>
            <a:r>
              <a:rPr lang="de-DE"/>
              <a:t> / </a:t>
            </a:r>
            <a:r>
              <a:rPr lang="de-DE" err="1"/>
              <a:t>schedule</a:t>
            </a:r>
            <a:r>
              <a:rPr lang="de-DE"/>
              <a:t>)</a:t>
            </a:r>
            <a:endParaRPr lang="en-CA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25DCB38-902E-EE78-B52B-9EEC1591F611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grpSp>
        <p:nvGrpSpPr>
          <p:cNvPr id="4" name="Gruppieren 14">
            <a:extLst>
              <a:ext uri="{FF2B5EF4-FFF2-40B4-BE49-F238E27FC236}">
                <a16:creationId xmlns:a16="http://schemas.microsoft.com/office/drawing/2014/main" id="{685F7EC6-761E-9091-5226-75E891B9A8AE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38C40418-470C-695E-CE28-8EAA1AFD1D3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0" name="Rectangle 8">
              <a:extLst>
                <a:ext uri="{FF2B5EF4-FFF2-40B4-BE49-F238E27FC236}">
                  <a16:creationId xmlns:a16="http://schemas.microsoft.com/office/drawing/2014/main" id="{BD8EE377-874F-40FB-50FC-3A3C6BE1CDE7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1" name="Rectangle 9">
              <a:extLst>
                <a:ext uri="{FF2B5EF4-FFF2-40B4-BE49-F238E27FC236}">
                  <a16:creationId xmlns:a16="http://schemas.microsoft.com/office/drawing/2014/main" id="{8E699557-D411-E4F4-82DB-99B13F9C59EB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5A714ACC-7294-0D6B-83CE-DF8472C6C39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2E817C57-FEF3-A4FF-DA61-1C75606ECEE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A6D5471A-00FD-CF0A-D257-EE6B53ACDCE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FB02AB8C-3C4C-777A-9769-5C0E0446D6D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1B81C870-15D4-3DB4-D2BE-E20BE695334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id="{F244D6F1-908D-D906-BB01-6BCF9F29709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0A683624-B8F9-E5CB-93ED-AE8586C6603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2D549863-3DC0-D4EE-419C-53106CDFDB6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6" name="Freeform 18">
              <a:extLst>
                <a:ext uri="{FF2B5EF4-FFF2-40B4-BE49-F238E27FC236}">
                  <a16:creationId xmlns:a16="http://schemas.microsoft.com/office/drawing/2014/main" id="{6DBD3012-A05F-0B4F-EAF4-83054B080F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7" name="Freeform 19">
              <a:extLst>
                <a:ext uri="{FF2B5EF4-FFF2-40B4-BE49-F238E27FC236}">
                  <a16:creationId xmlns:a16="http://schemas.microsoft.com/office/drawing/2014/main" id="{9E16190B-7A20-A31E-1459-565E612533F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8" name="Freeform 20">
              <a:extLst>
                <a:ext uri="{FF2B5EF4-FFF2-40B4-BE49-F238E27FC236}">
                  <a16:creationId xmlns:a16="http://schemas.microsoft.com/office/drawing/2014/main" id="{046C572D-2763-176C-92C4-9E9D4D9AE2E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9" name="Freeform 21">
              <a:extLst>
                <a:ext uri="{FF2B5EF4-FFF2-40B4-BE49-F238E27FC236}">
                  <a16:creationId xmlns:a16="http://schemas.microsoft.com/office/drawing/2014/main" id="{E9FCA2DE-1CA7-ECC2-6728-1B2B39BEEE9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0" name="Freeform 22">
              <a:extLst>
                <a:ext uri="{FF2B5EF4-FFF2-40B4-BE49-F238E27FC236}">
                  <a16:creationId xmlns:a16="http://schemas.microsoft.com/office/drawing/2014/main" id="{58F38A2F-CA94-C6E4-6FFD-7548335D1CC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1" name="Freeform 23">
              <a:extLst>
                <a:ext uri="{FF2B5EF4-FFF2-40B4-BE49-F238E27FC236}">
                  <a16:creationId xmlns:a16="http://schemas.microsoft.com/office/drawing/2014/main" id="{D825808C-7ADC-9B84-FC30-C072FCF923D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2" name="Freeform 24">
              <a:extLst>
                <a:ext uri="{FF2B5EF4-FFF2-40B4-BE49-F238E27FC236}">
                  <a16:creationId xmlns:a16="http://schemas.microsoft.com/office/drawing/2014/main" id="{0CB8E670-F1FB-F481-EDF5-A10B2F9A387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3" name="Freeform 25">
              <a:extLst>
                <a:ext uri="{FF2B5EF4-FFF2-40B4-BE49-F238E27FC236}">
                  <a16:creationId xmlns:a16="http://schemas.microsoft.com/office/drawing/2014/main" id="{E037692C-43F0-595A-E122-E15E280D587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4" name="Freeform 26">
              <a:extLst>
                <a:ext uri="{FF2B5EF4-FFF2-40B4-BE49-F238E27FC236}">
                  <a16:creationId xmlns:a16="http://schemas.microsoft.com/office/drawing/2014/main" id="{2DF48E09-42C3-3658-28A3-EE53029E388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5" name="Freeform 27">
              <a:extLst>
                <a:ext uri="{FF2B5EF4-FFF2-40B4-BE49-F238E27FC236}">
                  <a16:creationId xmlns:a16="http://schemas.microsoft.com/office/drawing/2014/main" id="{E36F4521-8D3C-B0EB-7797-B1B0E713DC9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6" name="Freeform 28">
              <a:extLst>
                <a:ext uri="{FF2B5EF4-FFF2-40B4-BE49-F238E27FC236}">
                  <a16:creationId xmlns:a16="http://schemas.microsoft.com/office/drawing/2014/main" id="{1CB68D60-3CBD-E200-0D62-B62A6F9F2D4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Freeform 29">
              <a:extLst>
                <a:ext uri="{FF2B5EF4-FFF2-40B4-BE49-F238E27FC236}">
                  <a16:creationId xmlns:a16="http://schemas.microsoft.com/office/drawing/2014/main" id="{D3317844-324A-126B-15DD-68289FC98B0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39" name="Textplatzhalter 82">
            <a:extLst>
              <a:ext uri="{FF2B5EF4-FFF2-40B4-BE49-F238E27FC236}">
                <a16:creationId xmlns:a16="http://schemas.microsoft.com/office/drawing/2014/main" id="{50D8EC94-3F63-4CD2-C31D-45A30FC7CC1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87340" y="3572059"/>
            <a:ext cx="6401434" cy="21544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2</a:t>
            </a:r>
            <a:endParaRPr lang="en-CA"/>
          </a:p>
        </p:txBody>
      </p:sp>
      <p:sp>
        <p:nvSpPr>
          <p:cNvPr id="41" name="Textplatzhalter 82">
            <a:extLst>
              <a:ext uri="{FF2B5EF4-FFF2-40B4-BE49-F238E27FC236}">
                <a16:creationId xmlns:a16="http://schemas.microsoft.com/office/drawing/2014/main" id="{E45A2D58-EC62-9FE5-9CB3-3577802B84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87340" y="3919796"/>
            <a:ext cx="6401434" cy="184666"/>
          </a:xfrm>
        </p:spPr>
        <p:txBody>
          <a:bodyPr wrap="square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Details (</a:t>
            </a:r>
            <a:r>
              <a:rPr lang="de-DE" err="1"/>
              <a:t>presenter</a:t>
            </a:r>
            <a:r>
              <a:rPr lang="de-DE"/>
              <a:t> / </a:t>
            </a:r>
            <a:r>
              <a:rPr lang="de-DE" err="1"/>
              <a:t>schedule</a:t>
            </a:r>
            <a:r>
              <a:rPr lang="de-DE"/>
              <a:t>)</a:t>
            </a:r>
            <a:endParaRPr lang="en-CA"/>
          </a:p>
        </p:txBody>
      </p:sp>
      <p:sp>
        <p:nvSpPr>
          <p:cNvPr id="43" name="Textplatzhalter 82">
            <a:extLst>
              <a:ext uri="{FF2B5EF4-FFF2-40B4-BE49-F238E27FC236}">
                <a16:creationId xmlns:a16="http://schemas.microsoft.com/office/drawing/2014/main" id="{862E9F33-1FD5-E8E9-D9D2-89A8480FEF7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87340" y="4552982"/>
            <a:ext cx="6401434" cy="21544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3</a:t>
            </a:r>
            <a:endParaRPr lang="en-CA"/>
          </a:p>
        </p:txBody>
      </p:sp>
      <p:sp>
        <p:nvSpPr>
          <p:cNvPr id="45" name="Textplatzhalter 82">
            <a:extLst>
              <a:ext uri="{FF2B5EF4-FFF2-40B4-BE49-F238E27FC236}">
                <a16:creationId xmlns:a16="http://schemas.microsoft.com/office/drawing/2014/main" id="{47206873-1CB3-D5C6-C11D-EFD6FFE160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87340" y="4900719"/>
            <a:ext cx="6401434" cy="184666"/>
          </a:xfrm>
        </p:spPr>
        <p:txBody>
          <a:bodyPr wrap="square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Details (</a:t>
            </a:r>
            <a:r>
              <a:rPr lang="de-DE" err="1"/>
              <a:t>presenter</a:t>
            </a:r>
            <a:r>
              <a:rPr lang="de-DE"/>
              <a:t> / </a:t>
            </a:r>
            <a:r>
              <a:rPr lang="de-DE" err="1"/>
              <a:t>schedule</a:t>
            </a:r>
            <a:r>
              <a:rPr lang="de-DE"/>
              <a:t>)</a:t>
            </a:r>
            <a:endParaRPr lang="en-CA"/>
          </a:p>
        </p:txBody>
      </p:sp>
      <p:sp>
        <p:nvSpPr>
          <p:cNvPr id="47" name="Textplatzhalter 82">
            <a:extLst>
              <a:ext uri="{FF2B5EF4-FFF2-40B4-BE49-F238E27FC236}">
                <a16:creationId xmlns:a16="http://schemas.microsoft.com/office/drawing/2014/main" id="{7BB4B8B0-3E4E-5B80-90D0-7555BC6C8EC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387340" y="5533905"/>
            <a:ext cx="6401434" cy="21544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4</a:t>
            </a:r>
            <a:endParaRPr lang="en-CA"/>
          </a:p>
        </p:txBody>
      </p:sp>
      <p:sp>
        <p:nvSpPr>
          <p:cNvPr id="49" name="Textplatzhalter 82">
            <a:extLst>
              <a:ext uri="{FF2B5EF4-FFF2-40B4-BE49-F238E27FC236}">
                <a16:creationId xmlns:a16="http://schemas.microsoft.com/office/drawing/2014/main" id="{DD04D40F-8CFD-8FED-C714-CBBCEB94D82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387340" y="5881642"/>
            <a:ext cx="6401434" cy="184666"/>
          </a:xfrm>
        </p:spPr>
        <p:txBody>
          <a:bodyPr wrap="square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Details (</a:t>
            </a:r>
            <a:r>
              <a:rPr lang="de-DE" err="1"/>
              <a:t>presenter</a:t>
            </a:r>
            <a:r>
              <a:rPr lang="de-DE"/>
              <a:t> / </a:t>
            </a:r>
            <a:r>
              <a:rPr lang="de-DE" err="1"/>
              <a:t>schedule</a:t>
            </a:r>
            <a:r>
              <a:rPr lang="de-DE"/>
              <a:t>)</a:t>
            </a:r>
            <a:endParaRPr lang="en-CA"/>
          </a:p>
        </p:txBody>
      </p:sp>
      <p:sp>
        <p:nvSpPr>
          <p:cNvPr id="51" name="Textplatzhalter 82">
            <a:extLst>
              <a:ext uri="{FF2B5EF4-FFF2-40B4-BE49-F238E27FC236}">
                <a16:creationId xmlns:a16="http://schemas.microsoft.com/office/drawing/2014/main" id="{BE53B255-9784-6976-A89D-292B3101F4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55820" y="2553355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1</a:t>
            </a:r>
            <a:endParaRPr lang="en-CA"/>
          </a:p>
        </p:txBody>
      </p:sp>
      <p:sp>
        <p:nvSpPr>
          <p:cNvPr id="52" name="Textplatzhalter 82">
            <a:extLst>
              <a:ext uri="{FF2B5EF4-FFF2-40B4-BE49-F238E27FC236}">
                <a16:creationId xmlns:a16="http://schemas.microsoft.com/office/drawing/2014/main" id="{8877AF34-7067-7170-8749-70201B6973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55820" y="3526084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2</a:t>
            </a:r>
            <a:endParaRPr lang="en-CA"/>
          </a:p>
        </p:txBody>
      </p:sp>
      <p:sp>
        <p:nvSpPr>
          <p:cNvPr id="53" name="Textplatzhalter 82">
            <a:extLst>
              <a:ext uri="{FF2B5EF4-FFF2-40B4-BE49-F238E27FC236}">
                <a16:creationId xmlns:a16="http://schemas.microsoft.com/office/drawing/2014/main" id="{2CCEEAD5-2398-3A79-4A0C-A6C51604E8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55820" y="4498813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3</a:t>
            </a:r>
            <a:endParaRPr lang="en-CA"/>
          </a:p>
        </p:txBody>
      </p:sp>
      <p:sp>
        <p:nvSpPr>
          <p:cNvPr id="54" name="Textplatzhalter 82">
            <a:extLst>
              <a:ext uri="{FF2B5EF4-FFF2-40B4-BE49-F238E27FC236}">
                <a16:creationId xmlns:a16="http://schemas.microsoft.com/office/drawing/2014/main" id="{36E3DDE5-5444-9D85-7089-BE4CF0E6ED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55820" y="5471542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4</a:t>
            </a:r>
            <a:endParaRPr lang="en-CA"/>
          </a:p>
        </p:txBody>
      </p:sp>
      <p:sp>
        <p:nvSpPr>
          <p:cNvPr id="19" name="Rechteck 44">
            <a:extLst>
              <a:ext uri="{FF2B5EF4-FFF2-40B4-BE49-F238E27FC236}">
                <a16:creationId xmlns:a16="http://schemas.microsoft.com/office/drawing/2014/main" id="{E952B0D8-86A1-E750-230A-3F5744D54596}"/>
              </a:ext>
            </a:extLst>
          </p:cNvPr>
          <p:cNvSpPr/>
          <p:nvPr userDrawn="1"/>
        </p:nvSpPr>
        <p:spPr>
          <a:xfrm>
            <a:off x="12341678" y="0"/>
            <a:ext cx="301275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1400" dirty="0">
                <a:solidFill>
                  <a:schemeClr val="tx2"/>
                </a:solidFill>
              </a:rPr>
              <a:t>To add a background image, right click on slide – “Format Background” – “Picture or texture fill”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4862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61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BC9DA29-F2DA-64C1-7B58-D72D1AF46E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3856037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532" imgH="533" progId="TCLayout.ActiveDocument.1">
                  <p:embed/>
                </p:oleObj>
              </mc:Choice>
              <mc:Fallback>
                <p:oleObj name="think-cell Slide" r:id="rId42" imgW="532" imgH="53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C9DA29-F2DA-64C1-7B58-D72D1AF46E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C22A8E4D-5CF5-39BA-6D36-C8024C752B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0050812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ED28772-C5E6-1166-98ED-F51C9A0831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484312"/>
            <a:ext cx="11376025" cy="48974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83D3B82-3692-011E-2E2F-FAEB69627F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83633" y="6597650"/>
            <a:ext cx="90112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55E70D4B-E00F-4E3D-9749-2A3BEC2D17A1}" type="datetime1">
              <a:rPr lang="de-DE" smtClean="0"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721E943-A651-71BC-5898-7724105578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2500" y="6597650"/>
            <a:ext cx="391512" cy="15388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grpSp>
        <p:nvGrpSpPr>
          <p:cNvPr id="45" name="Gruppieren 14">
            <a:extLst>
              <a:ext uri="{FF2B5EF4-FFF2-40B4-BE49-F238E27FC236}">
                <a16:creationId xmlns:a16="http://schemas.microsoft.com/office/drawing/2014/main" id="{6537363E-9FDE-94D4-C3B8-FD12537A0FDD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accent1"/>
          </a:solidFill>
        </p:grpSpPr>
        <p:sp>
          <p:nvSpPr>
            <p:cNvPr id="46" name="Freeform 7">
              <a:extLst>
                <a:ext uri="{FF2B5EF4-FFF2-40B4-BE49-F238E27FC236}">
                  <a16:creationId xmlns:a16="http://schemas.microsoft.com/office/drawing/2014/main" id="{EA842D91-4EA7-6658-9396-A367A9081EC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7" name="Rectangle 8">
              <a:extLst>
                <a:ext uri="{FF2B5EF4-FFF2-40B4-BE49-F238E27FC236}">
                  <a16:creationId xmlns:a16="http://schemas.microsoft.com/office/drawing/2014/main" id="{154FE1B9-EE43-803F-2BFC-88BD6A10FAB6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Rectangle 9">
              <a:extLst>
                <a:ext uri="{FF2B5EF4-FFF2-40B4-BE49-F238E27FC236}">
                  <a16:creationId xmlns:a16="http://schemas.microsoft.com/office/drawing/2014/main" id="{2AC6DD34-D2B6-91FA-DE41-9B0EE45240FF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10">
              <a:extLst>
                <a:ext uri="{FF2B5EF4-FFF2-40B4-BE49-F238E27FC236}">
                  <a16:creationId xmlns:a16="http://schemas.microsoft.com/office/drawing/2014/main" id="{2DB7CF62-B08A-0A71-5098-015EB60938A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11">
              <a:extLst>
                <a:ext uri="{FF2B5EF4-FFF2-40B4-BE49-F238E27FC236}">
                  <a16:creationId xmlns:a16="http://schemas.microsoft.com/office/drawing/2014/main" id="{2BA87D55-9E2C-912D-A1B1-3783CF874BE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12">
              <a:extLst>
                <a:ext uri="{FF2B5EF4-FFF2-40B4-BE49-F238E27FC236}">
                  <a16:creationId xmlns:a16="http://schemas.microsoft.com/office/drawing/2014/main" id="{7D8CAC10-6292-7A0E-EDD3-8A9F297F6FF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13">
              <a:extLst>
                <a:ext uri="{FF2B5EF4-FFF2-40B4-BE49-F238E27FC236}">
                  <a16:creationId xmlns:a16="http://schemas.microsoft.com/office/drawing/2014/main" id="{F73D6BE2-A1FF-9FBF-E416-67E2C1F4FA2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14">
              <a:extLst>
                <a:ext uri="{FF2B5EF4-FFF2-40B4-BE49-F238E27FC236}">
                  <a16:creationId xmlns:a16="http://schemas.microsoft.com/office/drawing/2014/main" id="{2971604B-8073-70CD-BA93-8CDD8445DCC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15">
              <a:extLst>
                <a:ext uri="{FF2B5EF4-FFF2-40B4-BE49-F238E27FC236}">
                  <a16:creationId xmlns:a16="http://schemas.microsoft.com/office/drawing/2014/main" id="{8715DF93-9FC0-59C4-6E1F-613F0985837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16">
              <a:extLst>
                <a:ext uri="{FF2B5EF4-FFF2-40B4-BE49-F238E27FC236}">
                  <a16:creationId xmlns:a16="http://schemas.microsoft.com/office/drawing/2014/main" id="{771591B3-DF30-C77B-7FEB-C0657409109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6" name="Freeform 17">
              <a:extLst>
                <a:ext uri="{FF2B5EF4-FFF2-40B4-BE49-F238E27FC236}">
                  <a16:creationId xmlns:a16="http://schemas.microsoft.com/office/drawing/2014/main" id="{073EB010-186D-99C2-1165-CBE9F8CD277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18">
              <a:extLst>
                <a:ext uri="{FF2B5EF4-FFF2-40B4-BE49-F238E27FC236}">
                  <a16:creationId xmlns:a16="http://schemas.microsoft.com/office/drawing/2014/main" id="{4080E9FF-FE81-4B74-DBFE-62A44B80B94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8" name="Freeform 19">
              <a:extLst>
                <a:ext uri="{FF2B5EF4-FFF2-40B4-BE49-F238E27FC236}">
                  <a16:creationId xmlns:a16="http://schemas.microsoft.com/office/drawing/2014/main" id="{7272836A-28AF-0798-6FA3-C68CAA0B9EC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9" name="Freeform 20">
              <a:extLst>
                <a:ext uri="{FF2B5EF4-FFF2-40B4-BE49-F238E27FC236}">
                  <a16:creationId xmlns:a16="http://schemas.microsoft.com/office/drawing/2014/main" id="{527B1126-A067-01CE-6776-FDF84610C8D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0" name="Freeform 21">
              <a:extLst>
                <a:ext uri="{FF2B5EF4-FFF2-40B4-BE49-F238E27FC236}">
                  <a16:creationId xmlns:a16="http://schemas.microsoft.com/office/drawing/2014/main" id="{D0B5665C-DEB6-99FA-65E6-00F2DAAA15D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1" name="Freeform 22">
              <a:extLst>
                <a:ext uri="{FF2B5EF4-FFF2-40B4-BE49-F238E27FC236}">
                  <a16:creationId xmlns:a16="http://schemas.microsoft.com/office/drawing/2014/main" id="{4962BE59-5CC4-53E0-CD88-2AB1EBC599B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2" name="Freeform 23">
              <a:extLst>
                <a:ext uri="{FF2B5EF4-FFF2-40B4-BE49-F238E27FC236}">
                  <a16:creationId xmlns:a16="http://schemas.microsoft.com/office/drawing/2014/main" id="{6AB02721-D836-5563-AD16-34A526BB3FD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3" name="Freeform 24">
              <a:extLst>
                <a:ext uri="{FF2B5EF4-FFF2-40B4-BE49-F238E27FC236}">
                  <a16:creationId xmlns:a16="http://schemas.microsoft.com/office/drawing/2014/main" id="{69763F0B-8AD8-86B3-F61C-DBDD4C7B4E6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4" name="Freeform 25">
              <a:extLst>
                <a:ext uri="{FF2B5EF4-FFF2-40B4-BE49-F238E27FC236}">
                  <a16:creationId xmlns:a16="http://schemas.microsoft.com/office/drawing/2014/main" id="{2DDEA143-C965-40EC-CD35-11A7F781F24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5" name="Freeform 26">
              <a:extLst>
                <a:ext uri="{FF2B5EF4-FFF2-40B4-BE49-F238E27FC236}">
                  <a16:creationId xmlns:a16="http://schemas.microsoft.com/office/drawing/2014/main" id="{C27F47BD-C295-2B5C-0B9A-086A6A302E2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6" name="Freeform 27">
              <a:extLst>
                <a:ext uri="{FF2B5EF4-FFF2-40B4-BE49-F238E27FC236}">
                  <a16:creationId xmlns:a16="http://schemas.microsoft.com/office/drawing/2014/main" id="{714DC8B3-954D-73DD-B1DB-645ADBD5620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7" name="Freeform 28">
              <a:extLst>
                <a:ext uri="{FF2B5EF4-FFF2-40B4-BE49-F238E27FC236}">
                  <a16:creationId xmlns:a16="http://schemas.microsoft.com/office/drawing/2014/main" id="{E36A9D6C-0FD4-1365-339D-7757DD1D5EB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8" name="Freeform 29">
              <a:extLst>
                <a:ext uri="{FF2B5EF4-FFF2-40B4-BE49-F238E27FC236}">
                  <a16:creationId xmlns:a16="http://schemas.microsoft.com/office/drawing/2014/main" id="{0CC577B5-4FED-029F-51CC-734715AFCC4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7" name="Textfeld 6">
            <a:extLst>
              <a:ext uri="{FF2B5EF4-FFF2-40B4-BE49-F238E27FC236}">
                <a16:creationId xmlns:a16="http://schemas.microsoft.com/office/drawing/2014/main" id="{D7F6F1B8-152D-564D-87A1-C4BF560DACE2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tx2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304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9" r:id="rId2"/>
    <p:sldLayoutId id="2147483650" r:id="rId3"/>
    <p:sldLayoutId id="2147483670" r:id="rId4"/>
    <p:sldLayoutId id="2147483651" r:id="rId5"/>
    <p:sldLayoutId id="2147483688" r:id="rId6"/>
    <p:sldLayoutId id="2147483669" r:id="rId7"/>
    <p:sldLayoutId id="2147483671" r:id="rId8"/>
    <p:sldLayoutId id="2147483664" r:id="rId9"/>
    <p:sldLayoutId id="2147483690" r:id="rId10"/>
    <p:sldLayoutId id="2147483665" r:id="rId11"/>
    <p:sldLayoutId id="2147483691" r:id="rId12"/>
    <p:sldLayoutId id="2147483660" r:id="rId13"/>
    <p:sldLayoutId id="2147483692" r:id="rId14"/>
    <p:sldLayoutId id="2147483695" r:id="rId15"/>
    <p:sldLayoutId id="2147483652" r:id="rId16"/>
    <p:sldLayoutId id="2147483666" r:id="rId17"/>
    <p:sldLayoutId id="2147483681" r:id="rId18"/>
    <p:sldLayoutId id="2147483682" r:id="rId19"/>
    <p:sldLayoutId id="2147483662" r:id="rId20"/>
    <p:sldLayoutId id="2147483673" r:id="rId21"/>
    <p:sldLayoutId id="2147483683" r:id="rId22"/>
    <p:sldLayoutId id="2147483684" r:id="rId23"/>
    <p:sldLayoutId id="2147483661" r:id="rId24"/>
    <p:sldLayoutId id="2147483685" r:id="rId25"/>
    <p:sldLayoutId id="2147483686" r:id="rId26"/>
    <p:sldLayoutId id="2147483687" r:id="rId27"/>
    <p:sldLayoutId id="2147483663" r:id="rId28"/>
    <p:sldLayoutId id="2147483674" r:id="rId29"/>
    <p:sldLayoutId id="2147483667" r:id="rId30"/>
    <p:sldLayoutId id="2147483675" r:id="rId31"/>
    <p:sldLayoutId id="2147483679" r:id="rId32"/>
    <p:sldLayoutId id="2147483680" r:id="rId33"/>
    <p:sldLayoutId id="2147483668" r:id="rId34"/>
    <p:sldLayoutId id="2147483676" r:id="rId35"/>
    <p:sldLayoutId id="2147483677" r:id="rId36"/>
    <p:sldLayoutId id="2147483678" r:id="rId37"/>
    <p:sldLayoutId id="2147483693" r:id="rId38"/>
    <p:sldLayoutId id="2147483694" r:id="rId39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orient="horz" pos="754" userDrawn="1">
          <p15:clr>
            <a:srgbClr val="F26B43"/>
          </p15:clr>
        </p15:guide>
        <p15:guide id="5" orient="horz" pos="935" userDrawn="1">
          <p15:clr>
            <a:srgbClr val="F26B43"/>
          </p15:clr>
        </p15:guide>
        <p15:guide id="6" orient="horz" pos="4156" userDrawn="1">
          <p15:clr>
            <a:srgbClr val="F26B43"/>
          </p15:clr>
        </p15:guide>
        <p15:guide id="7" orient="horz" pos="4020" userDrawn="1">
          <p15:clr>
            <a:srgbClr val="F26B43"/>
          </p15:clr>
        </p15:guide>
        <p15:guide id="14" orient="horz" pos="2387" userDrawn="1">
          <p15:clr>
            <a:srgbClr val="F26B43"/>
          </p15:clr>
        </p15:guide>
        <p15:guide id="15" orient="horz" pos="2568" userDrawn="1">
          <p15:clr>
            <a:srgbClr val="F26B43"/>
          </p15:clr>
        </p15:guide>
        <p15:guide id="16" orient="horz" pos="300" userDrawn="1">
          <p15:clr>
            <a:srgbClr val="F26B43"/>
          </p15:clr>
        </p15:guide>
        <p15:guide id="22" pos="2525" userDrawn="1">
          <p15:clr>
            <a:srgbClr val="F26B43"/>
          </p15:clr>
        </p15:guide>
        <p15:guide id="26" pos="4974" userDrawn="1">
          <p15:clr>
            <a:srgbClr val="F26B43"/>
          </p15:clr>
        </p15:guide>
        <p15:guide id="28" pos="2706" userDrawn="1">
          <p15:clr>
            <a:srgbClr val="F26B43"/>
          </p15:clr>
        </p15:guide>
        <p15:guide id="30" pos="3931" userDrawn="1">
          <p15:clr>
            <a:srgbClr val="F26B43"/>
          </p15:clr>
        </p15:guide>
        <p15:guide id="32" pos="5154" userDrawn="1">
          <p15:clr>
            <a:srgbClr val="F26B43"/>
          </p15:clr>
        </p15:guide>
        <p15:guide id="33" pos="374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7" Type="http://schemas.openxmlformats.org/officeDocument/2006/relationships/image" Target="../media/image19.jpe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8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11.png"/><Relationship Id="rId7" Type="http://schemas.openxmlformats.org/officeDocument/2006/relationships/diagramColors" Target="../diagrams/colors2.xml"/><Relationship Id="rId2" Type="http://schemas.openxmlformats.org/officeDocument/2006/relationships/image" Target="../media/image10.gif"/><Relationship Id="rId1" Type="http://schemas.openxmlformats.org/officeDocument/2006/relationships/slideLayout" Target="../slideLayouts/slideLayout26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8FD004-098A-9FDF-936B-CB7618C26C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8D51BE8-6118-48C7-D196-E5EF188BF8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A7FF4A-DD49-D429-E7AE-A8D18340D0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DE1D5A1-D363-0512-6822-3781F3DC683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Clean Code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1A6B9FD-71C2-3797-E3E2-93E5878235FD}"/>
              </a:ext>
            </a:extLst>
          </p:cNvPr>
          <p:cNvSpPr txBox="1"/>
          <p:nvPr/>
        </p:nvSpPr>
        <p:spPr>
          <a:xfrm>
            <a:off x="1314680" y="5210978"/>
            <a:ext cx="956264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accent1"/>
              </a:buClr>
            </a:pPr>
            <a:r>
              <a:rPr lang="en-US" sz="2800" dirty="0">
                <a:solidFill>
                  <a:schemeClr val="bg1"/>
                </a:solidFill>
              </a:rPr>
              <a:t>Code: https://</a:t>
            </a:r>
            <a:r>
              <a:rPr lang="en-US" sz="2800" dirty="0" err="1">
                <a:solidFill>
                  <a:schemeClr val="bg1"/>
                </a:solidFill>
              </a:rPr>
              <a:t>github.com</a:t>
            </a:r>
            <a:r>
              <a:rPr lang="en-US" sz="2800" dirty="0">
                <a:solidFill>
                  <a:schemeClr val="bg1"/>
                </a:solidFill>
              </a:rPr>
              <a:t>/</a:t>
            </a:r>
            <a:r>
              <a:rPr lang="en-US" sz="2800" dirty="0" err="1">
                <a:solidFill>
                  <a:schemeClr val="bg1"/>
                </a:solidFill>
              </a:rPr>
              <a:t>adefabian</a:t>
            </a:r>
            <a:r>
              <a:rPr lang="en-US" sz="2800" dirty="0">
                <a:solidFill>
                  <a:schemeClr val="bg1"/>
                </a:solidFill>
              </a:rPr>
              <a:t>/coding-workshop</a:t>
            </a:r>
          </a:p>
        </p:txBody>
      </p:sp>
    </p:spTree>
    <p:extLst>
      <p:ext uri="{BB962C8B-B14F-4D97-AF65-F5344CB8AC3E}">
        <p14:creationId xmlns:p14="http://schemas.microsoft.com/office/powerpoint/2010/main" val="31732009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E99CC1-87AC-542D-E0AB-EF03536751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8CD55340-60AD-D5BA-E0F5-772480B8E6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ean Code Principal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00EAC87-F9E3-B877-D354-0C9FF30ABC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4BB44E-8903-4313-BBED-09991CD8D6D8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D37AB9B-1BE9-6C08-84CA-9358FA3A1D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pPr/>
              <a:t>10</a:t>
            </a:fld>
            <a:endParaRPr lang="en-CA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7EB7E1F-51B5-E465-EDC0-D316BE77DC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2" name="Content Placeholder 10">
            <a:extLst>
              <a:ext uri="{FF2B5EF4-FFF2-40B4-BE49-F238E27FC236}">
                <a16:creationId xmlns:a16="http://schemas.microsoft.com/office/drawing/2014/main" id="{E14CC9F2-3513-1D5F-342B-1A3F3F19E21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4275178"/>
              </p:ext>
            </p:extLst>
          </p:nvPr>
        </p:nvGraphicFramePr>
        <p:xfrm>
          <a:off x="1599538" y="980281"/>
          <a:ext cx="4948238" cy="48974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E9864A48-5928-824A-B8D6-C1923390969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14274" y="665626"/>
            <a:ext cx="3478188" cy="5526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9052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59827E-4A18-73C6-50C4-ACD74E50D0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0E7EEDF1-FDAA-50A1-6845-83AB401F5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ean Code Principal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281F8A7-090F-122B-8B98-BCC565BDBC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4BB44E-8903-4313-BBED-09991CD8D6D8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17E2E4-347D-4958-65A3-615DAB36E2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pPr/>
              <a:t>11</a:t>
            </a:fld>
            <a:endParaRPr lang="en-CA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6088903-6378-0C54-6F65-59A96B81927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11269" name="Content Placeholder 10">
            <a:extLst>
              <a:ext uri="{FF2B5EF4-FFF2-40B4-BE49-F238E27FC236}">
                <a16:creationId xmlns:a16="http://schemas.microsoft.com/office/drawing/2014/main" id="{172BC5F8-62E0-F28B-8515-14AF93D762F4}"/>
              </a:ext>
            </a:extLst>
          </p:cNvPr>
          <p:cNvGraphicFramePr>
            <a:graphicFrameLocks noGrp="1"/>
          </p:cNvGraphicFramePr>
          <p:nvPr>
            <p:ph sz="half" idx="14"/>
            <p:extLst>
              <p:ext uri="{D42A27DB-BD31-4B8C-83A1-F6EECF244321}">
                <p14:modId xmlns:p14="http://schemas.microsoft.com/office/powerpoint/2010/main" val="3626840994"/>
              </p:ext>
            </p:extLst>
          </p:nvPr>
        </p:nvGraphicFramePr>
        <p:xfrm>
          <a:off x="1599538" y="980281"/>
          <a:ext cx="4948238" cy="48974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1266" name="Picture 2" descr="Revamping Your Code: Masterful Techniques for Effective Code Refactoring">
            <a:extLst>
              <a:ext uri="{FF2B5EF4-FFF2-40B4-BE49-F238E27FC236}">
                <a16:creationId xmlns:a16="http://schemas.microsoft.com/office/drawing/2014/main" id="{3594A95F-12D8-9690-9A33-C2D2FA81BCE1}"/>
              </a:ext>
            </a:extLst>
          </p:cNvPr>
          <p:cNvPicPr>
            <a:picLocks noGrp="1" noChangeAspect="1" noChangeArrowheads="1"/>
          </p:cNvPicPr>
          <p:nvPr>
            <p:ph sz="half" idx="1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774" y="1860045"/>
            <a:ext cx="4948238" cy="3137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D3F56C0-6367-3BA5-0718-BD1F2979B2C5}"/>
              </a:ext>
            </a:extLst>
          </p:cNvPr>
          <p:cNvSpPr txBox="1"/>
          <p:nvPr/>
        </p:nvSpPr>
        <p:spPr>
          <a:xfrm>
            <a:off x="1862667" y="1100667"/>
            <a:ext cx="25455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52000" indent="-252000" algn="l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90979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E165B5-A210-B512-1431-8A36B2151A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71B19531-CB52-E95B-9D3D-146ABDDD8C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5399999" cy="369332"/>
          </a:xfrm>
        </p:spPr>
        <p:txBody>
          <a:bodyPr wrap="square" anchor="t">
            <a:normAutofit/>
          </a:bodyPr>
          <a:lstStyle/>
          <a:p>
            <a:r>
              <a:rPr lang="en-GB" dirty="0"/>
              <a:t>General Tips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A7FDF12-B987-D473-1982-269ED7B74E7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7" y="1484312"/>
            <a:ext cx="5400000" cy="4897437"/>
          </a:xfrm>
        </p:spPr>
        <p:txBody>
          <a:bodyPr>
            <a:normAutofit/>
          </a:bodyPr>
          <a:lstStyle/>
          <a:p>
            <a:r>
              <a:rPr lang="en-GB" dirty="0"/>
              <a:t>No Jupiter Notebooks</a:t>
            </a:r>
          </a:p>
          <a:p>
            <a:r>
              <a:rPr lang="en-GB" dirty="0"/>
              <a:t>Classify everything</a:t>
            </a:r>
          </a:p>
          <a:p>
            <a:r>
              <a:rPr lang="en-GB" dirty="0"/>
              <a:t>Use config files</a:t>
            </a:r>
          </a:p>
          <a:p>
            <a:r>
              <a:rPr lang="en-GB" dirty="0"/>
              <a:t>No magic numbers</a:t>
            </a:r>
          </a:p>
          <a:p>
            <a:r>
              <a:rPr lang="en-GB" dirty="0"/>
              <a:t>Descriptive names</a:t>
            </a:r>
          </a:p>
          <a:p>
            <a:r>
              <a:rPr lang="en-GB" dirty="0"/>
              <a:t>Dedicated value objects</a:t>
            </a:r>
          </a:p>
          <a:p>
            <a:r>
              <a:rPr lang="en-US" dirty="0"/>
              <a:t>Don’t repeat yourself (DRY)</a:t>
            </a:r>
          </a:p>
          <a:p>
            <a:endParaRPr lang="en-GB" dirty="0"/>
          </a:p>
          <a:p>
            <a:endParaRPr lang="en-GB" dirty="0"/>
          </a:p>
        </p:txBody>
      </p:sp>
      <p:pic>
        <p:nvPicPr>
          <p:cNvPr id="12290" name="Picture 2" descr="A cartoon character with a beard and mustache&#10;&#10;Description automatically generated">
            <a:extLst>
              <a:ext uri="{FF2B5EF4-FFF2-40B4-BE49-F238E27FC236}">
                <a16:creationId xmlns:a16="http://schemas.microsoft.com/office/drawing/2014/main" id="{8D3ADDD8-FE13-6A40-1443-38CD216C58AB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84012" y="1728000"/>
            <a:ext cx="5400000" cy="3402000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2257634-882A-59DC-EF93-8B735B5CFC3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83633" y="6597650"/>
            <a:ext cx="901128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E64BB44E-8903-4313-BBED-09991CD8D6D8}" type="datetime1">
              <a:rPr lang="de-DE" smtClean="0"/>
              <a:pPr>
                <a:spcAft>
                  <a:spcPts val="600"/>
                </a:spcAft>
              </a:pPr>
              <a:t>27.01.25</a:t>
            </a:fld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EB499E-AAA7-773E-6C53-8DE61AD3A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2500" y="6597650"/>
            <a:ext cx="391512" cy="153888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fld id="{23DEAD0B-53D4-4473-89A4-0C9AC72707FF}" type="slidenum">
              <a:rPr lang="en-CA" smtClean="0"/>
              <a:pPr>
                <a:spcAft>
                  <a:spcPts val="600"/>
                </a:spcAft>
              </a:pPr>
              <a:t>12</a:t>
            </a:fld>
            <a:endParaRPr lang="en-CA"/>
          </a:p>
        </p:txBody>
      </p:sp>
      <p:sp>
        <p:nvSpPr>
          <p:cNvPr id="12295" name="Text Placeholder 6">
            <a:extLst>
              <a:ext uri="{FF2B5EF4-FFF2-40B4-BE49-F238E27FC236}">
                <a16:creationId xmlns:a16="http://schemas.microsoft.com/office/drawing/2014/main" id="{9C9B2130-D313-0E08-2944-517243E7DE8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8" y="219691"/>
            <a:ext cx="5399999" cy="15388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2880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ECD6CC-2149-488B-28A6-B44D4D08BC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6F463FF0-6697-C3E6-51B1-04CB5C69E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eneral Tip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3746EFE-02E4-C866-EDF1-FE7C43D811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4BB44E-8903-4313-BBED-09991CD8D6D8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066349-2F4A-D3CD-1DC2-F1C16B9179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pPr/>
              <a:t>13</a:t>
            </a:fld>
            <a:endParaRPr lang="en-CA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921C7D5-8641-4A67-3162-CFB3B39A51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E851D6B-BEA0-743D-830C-F00792B4D7B4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599538" y="851266"/>
            <a:ext cx="2968066" cy="428015"/>
          </a:xfrm>
        </p:spPr>
        <p:txBody>
          <a:bodyPr/>
          <a:lstStyle/>
          <a:p>
            <a:r>
              <a:rPr lang="en-GB" dirty="0"/>
              <a:t>Each Method does only one thing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D297A55-26F2-5C14-03C0-9E774DA9E7A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27951" b="-4"/>
          <a:stretch/>
        </p:blipFill>
        <p:spPr>
          <a:xfrm>
            <a:off x="1599538" y="1356402"/>
            <a:ext cx="3600450" cy="4897437"/>
          </a:xfrm>
          <a:prstGeom prst="rect">
            <a:avLst/>
          </a:prstGeom>
          <a:noFill/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7845D6B-AD13-A5BA-11E3-2A41EAA94C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2231" y="2345647"/>
            <a:ext cx="5443494" cy="2166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4419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6CA2B2-047C-1A83-4478-13E1A34D59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79FF8CA2-812A-3940-0BB4-FB31C1C150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General Tips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DD52C98-4E4F-F135-0217-D5DBACE5FF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4BB44E-8903-4313-BBED-09991CD8D6D8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5C45B9-D3A3-F376-7D23-3C5742EEF2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pPr/>
              <a:t>14</a:t>
            </a:fld>
            <a:endParaRPr lang="en-CA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21757B5-14D4-7F5C-0EF2-429B7D2125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779C9AA5-70F1-9DFD-980C-6F3E1C9113C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599538" y="1224939"/>
            <a:ext cx="2968066" cy="428015"/>
          </a:xfrm>
        </p:spPr>
        <p:txBody>
          <a:bodyPr vert="horz" lIns="0" tIns="0" rIns="0" bIns="0" rtlCol="0">
            <a:noAutofit/>
          </a:bodyPr>
          <a:lstStyle/>
          <a:p>
            <a:r>
              <a:rPr lang="en-US" dirty="0"/>
              <a:t>Avoid Mixing Abstraction Layers </a:t>
            </a:r>
          </a:p>
          <a:p>
            <a:pPr lvl="1"/>
            <a:r>
              <a:rPr lang="en-US" dirty="0"/>
              <a:t>Don’t put low-level operations on the same level as high-level functions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3C07B31-99AA-D411-08E4-66EE14CE18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9538" y="2553781"/>
            <a:ext cx="6556130" cy="121711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8A208BF-8DD7-9E19-9241-15960E0C9E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9852" y="4179085"/>
            <a:ext cx="6472021" cy="1106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8676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D60D7D-BB13-C2EB-0137-D76441968B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9E3ED6C2-1B45-7ED6-8B5E-73E14F5AD5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ere to start?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847ACB1-B609-1E4A-6FAB-5C45769CF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4BB44E-8903-4313-BBED-09991CD8D6D8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62275F-B454-1BC3-10A5-239128B75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pPr/>
              <a:t>15</a:t>
            </a:fld>
            <a:endParaRPr lang="en-CA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59D7689-BA75-73CF-D9AC-F795C9E144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1030" name="Content Placeholder 10">
            <a:extLst>
              <a:ext uri="{FF2B5EF4-FFF2-40B4-BE49-F238E27FC236}">
                <a16:creationId xmlns:a16="http://schemas.microsoft.com/office/drawing/2014/main" id="{A7AD868F-163D-E026-55A3-729208540314}"/>
              </a:ext>
            </a:extLst>
          </p:cNvPr>
          <p:cNvGraphicFramePr>
            <a:graphicFrameLocks noGrp="1"/>
          </p:cNvGraphicFramePr>
          <p:nvPr>
            <p:ph sz="half" idx="14"/>
            <p:extLst>
              <p:ext uri="{D42A27DB-BD31-4B8C-83A1-F6EECF244321}">
                <p14:modId xmlns:p14="http://schemas.microsoft.com/office/powerpoint/2010/main" val="1427747746"/>
              </p:ext>
            </p:extLst>
          </p:nvPr>
        </p:nvGraphicFramePr>
        <p:xfrm>
          <a:off x="1599537" y="1484312"/>
          <a:ext cx="5427795" cy="48974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028" name="Picture 4">
            <a:extLst>
              <a:ext uri="{FF2B5EF4-FFF2-40B4-BE49-F238E27FC236}">
                <a16:creationId xmlns:a16="http://schemas.microsoft.com/office/drawing/2014/main" id="{73425D08-C0D5-9845-1522-C50FCA0C28F7}"/>
              </a:ext>
            </a:extLst>
          </p:cNvPr>
          <p:cNvPicPr>
            <a:picLocks noGrp="1" noChangeAspect="1" noChangeArrowheads="1"/>
          </p:cNvPicPr>
          <p:nvPr>
            <p:ph sz="half"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4894" y="2504281"/>
            <a:ext cx="38100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30390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A01B41-339B-7DBA-936F-DADED727EC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28">
            <a:extLst>
              <a:ext uri="{FF2B5EF4-FFF2-40B4-BE49-F238E27FC236}">
                <a16:creationId xmlns:a16="http://schemas.microsoft.com/office/drawing/2014/main" id="{43BB2F0A-FFB4-8B2C-2CA8-0794582057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FEE9992E-F87B-0AB0-B037-84DA6BAB0A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What is Clean Code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2EC9F5B-1813-DAEA-C0BB-C68241509F1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dirty="0"/>
              <a:t>Principals of Clean Code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1241389-5952-AA99-7CEB-42F45A0E706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321451" y="4612141"/>
            <a:ext cx="3240000" cy="215444"/>
          </a:xfrm>
        </p:spPr>
        <p:txBody>
          <a:bodyPr/>
          <a:lstStyle/>
          <a:p>
            <a:r>
              <a:rPr lang="en-GB" dirty="0"/>
              <a:t>Documentation  &amp; Testing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017B7E76-8037-4335-91A1-8FE013B69DD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GB" dirty="0"/>
              <a:t>Where to start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42DD67CC-9718-14F1-AAEC-0E06B5303BD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r>
              <a:rPr lang="en-GB" dirty="0"/>
              <a:t>01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6B92152B-3D8B-1912-1C4A-597A5918656C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r>
              <a:rPr lang="en-GB" dirty="0"/>
              <a:t>02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F0D4CB6F-1072-ADA5-A11C-F801F675CF9E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r>
              <a:rPr lang="en-GB" dirty="0"/>
              <a:t>03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3F401E0D-CD92-7DA5-B193-139499FD42F4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r>
              <a:rPr lang="en-GB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24479515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E8EB59-85E7-714E-0EDF-E44D99B502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7E18EF7A-3909-23E7-2D4E-0BB6FEEAAE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5399999" cy="369332"/>
          </a:xfrm>
        </p:spPr>
        <p:txBody>
          <a:bodyPr wrap="square" anchor="t">
            <a:normAutofit/>
          </a:bodyPr>
          <a:lstStyle/>
          <a:p>
            <a:r>
              <a:rPr lang="en-GB" dirty="0"/>
              <a:t>What is Clean Code?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047E042-7E99-B1E2-E3E4-041D8FD2BF5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7" y="1484312"/>
            <a:ext cx="5400000" cy="4897437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GB" dirty="0"/>
              <a:t>Clean code is</a:t>
            </a:r>
            <a:r>
              <a:rPr lang="en-US" dirty="0"/>
              <a:t> code that is easy to understand, easy to modify, and easy to maintain.</a:t>
            </a:r>
          </a:p>
          <a:p>
            <a:pPr>
              <a:lnSpc>
                <a:spcPct val="90000"/>
              </a:lnSpc>
            </a:pPr>
            <a:r>
              <a:rPr lang="en-US" dirty="0"/>
              <a:t>The term was was coined Uncle Bob (Robert C. Martin) in his book by the name “Clean Code”</a:t>
            </a:r>
          </a:p>
          <a:p>
            <a:pPr>
              <a:lnSpc>
                <a:spcPct val="90000"/>
              </a:lnSpc>
            </a:pPr>
            <a:r>
              <a:rPr lang="en-US" dirty="0"/>
              <a:t>Here are some key features of clean code: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Testable and tested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Elegant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Efficient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Expressive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Expected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Consistency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Readable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Minimal Dependencies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Maintainable (= Testable + Extensible + Understandable)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Self Documenting (we will come back to this later)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Simple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Small functions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Refactored</a:t>
            </a:r>
            <a:endParaRPr lang="en-GB" dirty="0"/>
          </a:p>
          <a:p>
            <a:pPr marL="0" indent="0">
              <a:lnSpc>
                <a:spcPct val="90000"/>
              </a:lnSpc>
              <a:buNone/>
            </a:pPr>
            <a:endParaRPr lang="en-GB" dirty="0"/>
          </a:p>
        </p:txBody>
      </p:sp>
      <p:pic>
        <p:nvPicPr>
          <p:cNvPr id="1026" name="Picture 2" descr="Clean Code Explained – A Practical Introduction to Clean Coding for  Beginners">
            <a:extLst>
              <a:ext uri="{FF2B5EF4-FFF2-40B4-BE49-F238E27FC236}">
                <a16:creationId xmlns:a16="http://schemas.microsoft.com/office/drawing/2014/main" id="{FDD69ED6-ABCF-6C84-E953-D4EF727AE4C0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84013" y="1807394"/>
            <a:ext cx="5400000" cy="4251272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262EB9-F2C4-F1DF-9A36-F378CB6BB65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83633" y="6597650"/>
            <a:ext cx="901128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E64BB44E-8903-4313-BBED-09991CD8D6D8}" type="datetime1">
              <a:rPr lang="de-DE" smtClean="0"/>
              <a:pPr>
                <a:spcAft>
                  <a:spcPts val="600"/>
                </a:spcAft>
              </a:pPr>
              <a:t>27.01.25</a:t>
            </a:fld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FEF067-DECC-8080-7A22-1A1517FE64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2500" y="6597650"/>
            <a:ext cx="391512" cy="153888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fld id="{23DEAD0B-53D4-4473-89A4-0C9AC72707FF}" type="slidenum">
              <a:rPr lang="en-CA" smtClean="0"/>
              <a:pPr>
                <a:spcAft>
                  <a:spcPts val="600"/>
                </a:spcAft>
              </a:pPr>
              <a:t>3</a:t>
            </a:fld>
            <a:endParaRPr lang="en-CA"/>
          </a:p>
        </p:txBody>
      </p:sp>
      <p:sp>
        <p:nvSpPr>
          <p:cNvPr id="1031" name="Text Placeholder 6">
            <a:extLst>
              <a:ext uri="{FF2B5EF4-FFF2-40B4-BE49-F238E27FC236}">
                <a16:creationId xmlns:a16="http://schemas.microsoft.com/office/drawing/2014/main" id="{F4EE0D59-E054-4D95-03CE-7542E2B5FD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8" y="219691"/>
            <a:ext cx="5399999" cy="15388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5996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B4D200-FC83-5D8F-23E3-D5C4B310E9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25863FCE-C531-8B3A-8B19-3F0785AFFB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0050812" cy="369332"/>
          </a:xfrm>
        </p:spPr>
        <p:txBody>
          <a:bodyPr wrap="square" anchor="t">
            <a:normAutofit/>
          </a:bodyPr>
          <a:lstStyle/>
          <a:p>
            <a:r>
              <a:rPr lang="en-GB" dirty="0"/>
              <a:t>But why???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6B80AA7-82A7-5279-1E52-A6B0D9DC4C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484312"/>
            <a:ext cx="11376025" cy="4897438"/>
          </a:xfrm>
        </p:spPr>
        <p:txBody>
          <a:bodyPr>
            <a:normAutofit/>
          </a:bodyPr>
          <a:lstStyle/>
          <a:p>
            <a:r>
              <a:rPr lang="en-GB" dirty="0"/>
              <a:t>Enables you to easily respond to change request</a:t>
            </a:r>
          </a:p>
          <a:p>
            <a:r>
              <a:rPr lang="en-GB" dirty="0"/>
              <a:t>Amplifies comparability and onboarding of team members</a:t>
            </a:r>
          </a:p>
          <a:p>
            <a:r>
              <a:rPr lang="en-GB" dirty="0"/>
              <a:t>Enhances fault detection and fault resolution</a:t>
            </a:r>
          </a:p>
          <a:p>
            <a:r>
              <a:rPr lang="en-US" dirty="0"/>
              <a:t>Facilitates</a:t>
            </a:r>
            <a:r>
              <a:rPr lang="en-GB" dirty="0"/>
              <a:t> testing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BCF82F5-F76D-CB51-18A5-7DD0D1A0A1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83633" y="6597650"/>
            <a:ext cx="901128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E64BB44E-8903-4313-BBED-09991CD8D6D8}" type="datetime1">
              <a:rPr lang="de-DE" smtClean="0"/>
              <a:pPr>
                <a:spcAft>
                  <a:spcPts val="600"/>
                </a:spcAft>
              </a:pPr>
              <a:t>27.01.25</a:t>
            </a:fld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B450F7-2872-3DAF-737A-CC71670691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2500" y="6597650"/>
            <a:ext cx="391512" cy="153888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fld id="{23DEAD0B-53D4-4473-89A4-0C9AC72707FF}" type="slidenum">
              <a:rPr lang="en-CA" smtClean="0"/>
              <a:pPr>
                <a:spcAft>
                  <a:spcPts val="600"/>
                </a:spcAft>
              </a:pPr>
              <a:t>4</a:t>
            </a:fld>
            <a:endParaRPr lang="en-CA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BF7BFAB2-CCCA-A6E3-CFBA-42BBB1486A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7" y="219691"/>
            <a:ext cx="10050811" cy="15388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51958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6293ED-869B-87F9-BB4A-704AFC7240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4BFE1B3D-7811-0A09-D68E-C3EA235F8A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5400010" cy="369332"/>
          </a:xfrm>
        </p:spPr>
        <p:txBody>
          <a:bodyPr wrap="square" anchor="t">
            <a:normAutofit/>
          </a:bodyPr>
          <a:lstStyle/>
          <a:p>
            <a:r>
              <a:rPr lang="en-GB" dirty="0"/>
              <a:t>What is Bad Code?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1F5FC7D-310A-D139-7000-7CB24A9756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986" y="1484312"/>
            <a:ext cx="5400012" cy="4897437"/>
          </a:xfrm>
        </p:spPr>
        <p:txBody>
          <a:bodyPr>
            <a:normAutofit/>
          </a:bodyPr>
          <a:lstStyle/>
          <a:p>
            <a:r>
              <a:rPr lang="en-GB" dirty="0"/>
              <a:t>Obscurity; one needs a lot of time to understand what is happening in the code</a:t>
            </a:r>
          </a:p>
          <a:p>
            <a:r>
              <a:rPr lang="en-GB" dirty="0"/>
              <a:t>Needlessly complex</a:t>
            </a:r>
          </a:p>
          <a:p>
            <a:r>
              <a:rPr lang="en-US" dirty="0"/>
              <a:t>Unclear Naming</a:t>
            </a:r>
            <a:endParaRPr lang="en-GB" dirty="0"/>
          </a:p>
          <a:p>
            <a:r>
              <a:rPr lang="en-US" dirty="0"/>
              <a:t>Long Functions</a:t>
            </a:r>
          </a:p>
          <a:p>
            <a:r>
              <a:rPr lang="en-US" dirty="0"/>
              <a:t>Functions that do multiple things</a:t>
            </a:r>
            <a:endParaRPr lang="en-GB" dirty="0"/>
          </a:p>
          <a:p>
            <a:r>
              <a:rPr lang="en-US" dirty="0"/>
              <a:t>Code Duplication</a:t>
            </a:r>
            <a:endParaRPr lang="en-GB" dirty="0"/>
          </a:p>
          <a:p>
            <a:r>
              <a:rPr lang="en-US" dirty="0"/>
              <a:t>No Comments or Documentation</a:t>
            </a:r>
            <a:endParaRPr lang="en-GB" dirty="0"/>
          </a:p>
          <a:p>
            <a:r>
              <a:rPr lang="en-US" dirty="0"/>
              <a:t>Too Many Comments</a:t>
            </a:r>
            <a:endParaRPr lang="en-GB" dirty="0"/>
          </a:p>
          <a:p>
            <a:r>
              <a:rPr lang="en-US" dirty="0"/>
              <a:t>Inconsistent Style</a:t>
            </a:r>
            <a:endParaRPr lang="en-GB" dirty="0"/>
          </a:p>
          <a:p>
            <a:r>
              <a:rPr lang="en-US" dirty="0"/>
              <a:t>Tight Coupling</a:t>
            </a:r>
            <a:endParaRPr lang="en-GB" dirty="0"/>
          </a:p>
          <a:p>
            <a:r>
              <a:rPr lang="en-US" dirty="0"/>
              <a:t>Lack of Modularity</a:t>
            </a:r>
            <a:endParaRPr lang="en-GB" dirty="0"/>
          </a:p>
          <a:p>
            <a:r>
              <a:rPr lang="en-US" dirty="0"/>
              <a:t>Poor Error Handling</a:t>
            </a:r>
          </a:p>
          <a:p>
            <a:r>
              <a:rPr lang="en-US" dirty="0"/>
              <a:t>Fragility; one change breaks the whole system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2055" name="Text Placeholder 3">
            <a:extLst>
              <a:ext uri="{FF2B5EF4-FFF2-40B4-BE49-F238E27FC236}">
                <a16:creationId xmlns:a16="http://schemas.microsoft.com/office/drawing/2014/main" id="{466D30C6-7EFA-5ED3-FCC9-C6769EF6C8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8" y="219691"/>
            <a:ext cx="5400010" cy="153888"/>
          </a:xfrm>
        </p:spPr>
        <p:txBody>
          <a:bodyPr/>
          <a:lstStyle/>
          <a:p>
            <a:endParaRPr lang="en-US"/>
          </a:p>
        </p:txBody>
      </p:sp>
      <p:pic>
        <p:nvPicPr>
          <p:cNvPr id="2050" name="Picture 2" descr="What Is Bad Code, Why It Is Dangerous, and How to Write Good Code">
            <a:extLst>
              <a:ext uri="{FF2B5EF4-FFF2-40B4-BE49-F238E27FC236}">
                <a16:creationId xmlns:a16="http://schemas.microsoft.com/office/drawing/2014/main" id="{8E8D2FB7-7F2E-8BC5-1100-7DBFA912C6C8}"/>
              </a:ext>
            </a:extLst>
          </p:cNvPr>
          <p:cNvPicPr>
            <a:picLocks noGrp="1"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84000" y="1712275"/>
            <a:ext cx="5400014" cy="4441511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D52354D-5ACF-FADC-60AE-DE3BC662A28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83633" y="6597650"/>
            <a:ext cx="901128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E64BB44E-8903-4313-BBED-09991CD8D6D8}" type="datetime1">
              <a:rPr lang="de-DE" smtClean="0"/>
              <a:pPr>
                <a:spcAft>
                  <a:spcPts val="600"/>
                </a:spcAft>
              </a:pPr>
              <a:t>27.01.25</a:t>
            </a:fld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DBDE15-ECF1-FC93-21E5-7AE5AF4AA9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2500" y="6597650"/>
            <a:ext cx="391512" cy="153888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fld id="{23DEAD0B-53D4-4473-89A4-0C9AC72707FF}" type="slidenum">
              <a:rPr lang="en-CA" smtClean="0"/>
              <a:pPr>
                <a:spcAft>
                  <a:spcPts val="600"/>
                </a:spcAft>
              </a:pPr>
              <a:t>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347959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60BEFD-C2E7-9CED-1913-B2FD8FC5A0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76E35FC7-B1AE-46A2-6F67-A67B6B3DAC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5399999" cy="369332"/>
          </a:xfrm>
        </p:spPr>
        <p:txBody>
          <a:bodyPr wrap="square" anchor="t">
            <a:normAutofit/>
          </a:bodyPr>
          <a:lstStyle/>
          <a:p>
            <a:r>
              <a:rPr lang="en-GB" dirty="0"/>
              <a:t>Even more bad Bad Code examples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CF286B8-A229-BACE-13B1-A84EB9D5B6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7" y="1484312"/>
            <a:ext cx="5400000" cy="4897437"/>
          </a:xfrm>
        </p:spPr>
        <p:txBody>
          <a:bodyPr>
            <a:normAutofit/>
          </a:bodyPr>
          <a:lstStyle/>
          <a:p>
            <a:r>
              <a:rPr lang="en-US" dirty="0"/>
              <a:t>Out commented code that has not been deleted for a long time</a:t>
            </a:r>
          </a:p>
          <a:p>
            <a:r>
              <a:rPr lang="en-US" dirty="0"/>
              <a:t>No or turned off unit test</a:t>
            </a:r>
          </a:p>
          <a:p>
            <a:r>
              <a:rPr lang="en-US" dirty="0"/>
              <a:t>Methods with too many arguments</a:t>
            </a:r>
          </a:p>
          <a:p>
            <a:r>
              <a:rPr lang="en-US" dirty="0"/>
              <a:t>Endless or seemingly endless nesting</a:t>
            </a:r>
          </a:p>
          <a:p>
            <a:r>
              <a:rPr lang="en-US" dirty="0"/>
              <a:t>Rigidity; it is hard to make one change without changes many other things</a:t>
            </a:r>
          </a:p>
          <a:p>
            <a:endParaRPr lang="en-GB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4098" name="Picture 2" descr="Bug free code : r/ProgrammerHumor">
            <a:extLst>
              <a:ext uri="{FF2B5EF4-FFF2-40B4-BE49-F238E27FC236}">
                <a16:creationId xmlns:a16="http://schemas.microsoft.com/office/drawing/2014/main" id="{8E5AE927-E858-B362-DA3F-8C6D31F81EE6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55679" y="1484312"/>
            <a:ext cx="4456667" cy="489743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A9A74E9-CC63-1AD1-2236-32BCE6EDAF3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83633" y="6597650"/>
            <a:ext cx="901128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E64BB44E-8903-4313-BBED-09991CD8D6D8}" type="datetime1">
              <a:rPr lang="de-DE" smtClean="0"/>
              <a:pPr>
                <a:spcAft>
                  <a:spcPts val="600"/>
                </a:spcAft>
              </a:pPr>
              <a:t>27.01.25</a:t>
            </a:fld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C277E-5B79-60F0-ADBA-91062DBEB2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2500" y="6597650"/>
            <a:ext cx="391512" cy="153888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fld id="{23DEAD0B-53D4-4473-89A4-0C9AC72707FF}" type="slidenum">
              <a:rPr lang="en-CA" smtClean="0"/>
              <a:pPr>
                <a:spcAft>
                  <a:spcPts val="600"/>
                </a:spcAft>
              </a:pPr>
              <a:t>6</a:t>
            </a:fld>
            <a:endParaRPr lang="en-CA"/>
          </a:p>
        </p:txBody>
      </p:sp>
      <p:sp>
        <p:nvSpPr>
          <p:cNvPr id="4103" name="Text Placeholder 6">
            <a:extLst>
              <a:ext uri="{FF2B5EF4-FFF2-40B4-BE49-F238E27FC236}">
                <a16:creationId xmlns:a16="http://schemas.microsoft.com/office/drawing/2014/main" id="{6225B8E7-0C10-2396-0977-355FE80DC3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8" y="219691"/>
            <a:ext cx="5399999" cy="15388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73090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69A36E-88DB-CB59-4B1A-B60584E320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54066417-23E3-0269-C257-99CBAF5D8E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0050812" cy="369332"/>
          </a:xfrm>
        </p:spPr>
        <p:txBody>
          <a:bodyPr wrap="square" anchor="t">
            <a:normAutofit/>
          </a:bodyPr>
          <a:lstStyle/>
          <a:p>
            <a:r>
              <a:rPr lang="en-GB" dirty="0"/>
              <a:t>What is Good Code?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8C82F13-4C26-69EC-8BAE-9834274B193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83633" y="6597650"/>
            <a:ext cx="901128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E64BB44E-8903-4313-BBED-09991CD8D6D8}" type="datetime1">
              <a:rPr lang="de-DE" smtClean="0"/>
              <a:pPr>
                <a:spcAft>
                  <a:spcPts val="600"/>
                </a:spcAft>
              </a:pPr>
              <a:t>27.01.25</a:t>
            </a:fld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D67D97-1AC3-9409-068B-69E74D21D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2500" y="6597650"/>
            <a:ext cx="391512" cy="153888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fld id="{23DEAD0B-53D4-4473-89A4-0C9AC72707FF}" type="slidenum">
              <a:rPr lang="en-CA" smtClean="0"/>
              <a:pPr>
                <a:spcAft>
                  <a:spcPts val="600"/>
                </a:spcAft>
              </a:pPr>
              <a:t>7</a:t>
            </a:fld>
            <a:endParaRPr lang="en-CA"/>
          </a:p>
        </p:txBody>
      </p:sp>
      <p:sp>
        <p:nvSpPr>
          <p:cNvPr id="6151" name="Text Placeholder 4">
            <a:extLst>
              <a:ext uri="{FF2B5EF4-FFF2-40B4-BE49-F238E27FC236}">
                <a16:creationId xmlns:a16="http://schemas.microsoft.com/office/drawing/2014/main" id="{2D81A681-A3BB-F85D-1E72-96376BC79D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7" y="219691"/>
            <a:ext cx="10050811" cy="153888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530AB1F-BC1E-78CA-BE64-EC57A80E584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7" y="1926307"/>
            <a:ext cx="5543551" cy="4440437"/>
          </a:xfrm>
        </p:spPr>
        <p:txBody>
          <a:bodyPr>
            <a:normAutofit/>
          </a:bodyPr>
          <a:lstStyle/>
          <a:p>
            <a:r>
              <a:rPr lang="en-GB" dirty="0"/>
              <a:t>Loosely Coupled</a:t>
            </a:r>
          </a:p>
          <a:p>
            <a:r>
              <a:rPr lang="en-GB" dirty="0"/>
              <a:t>Clear dependencies</a:t>
            </a:r>
          </a:p>
          <a:p>
            <a:r>
              <a:rPr lang="en-GB" dirty="0"/>
              <a:t>Consistency (names)</a:t>
            </a:r>
          </a:p>
          <a:p>
            <a:r>
              <a:rPr lang="en-GB" dirty="0"/>
              <a:t>Readable</a:t>
            </a:r>
          </a:p>
          <a:p>
            <a:r>
              <a:rPr lang="en-GB" dirty="0"/>
              <a:t>KISS</a:t>
            </a:r>
          </a:p>
          <a:p>
            <a:r>
              <a:rPr lang="en-GB" dirty="0"/>
              <a:t>Abstractions rather than concretions</a:t>
            </a:r>
          </a:p>
          <a:p>
            <a:r>
              <a:rPr lang="en-GB" dirty="0"/>
              <a:t>Logical separation of concerns</a:t>
            </a:r>
          </a:p>
          <a:p>
            <a:r>
              <a:rPr lang="en-GB" dirty="0"/>
              <a:t>Each Method does only one thing</a:t>
            </a:r>
          </a:p>
          <a:p>
            <a:r>
              <a:rPr lang="en-GB" dirty="0"/>
              <a:t>Modular</a:t>
            </a:r>
          </a:p>
          <a:p>
            <a:r>
              <a:rPr lang="en-GB" dirty="0"/>
              <a:t>Use dedicated value objects instead of many arguments</a:t>
            </a:r>
          </a:p>
          <a:p>
            <a:r>
              <a:rPr lang="en-GB" dirty="0"/>
              <a:t>Descriptive names for classes and variables</a:t>
            </a:r>
          </a:p>
          <a:p>
            <a:r>
              <a:rPr lang="en-US" dirty="0"/>
              <a:t>Don’t repeat yourself (DRY)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pic>
        <p:nvPicPr>
          <p:cNvPr id="6146" name="Picture 2" descr="What is good/bad code?">
            <a:extLst>
              <a:ext uri="{FF2B5EF4-FFF2-40B4-BE49-F238E27FC236}">
                <a16:creationId xmlns:a16="http://schemas.microsoft.com/office/drawing/2014/main" id="{FCC16B5A-65D4-C54B-0410-A4BC36B4D1F4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40464" y="3156189"/>
            <a:ext cx="5543550" cy="199567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6153" name="Text Placeholder 7">
            <a:extLst>
              <a:ext uri="{FF2B5EF4-FFF2-40B4-BE49-F238E27FC236}">
                <a16:creationId xmlns:a16="http://schemas.microsoft.com/office/drawing/2014/main" id="{D4542C57-6845-F0F9-150B-5C1E22ACCA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7987" y="1485415"/>
            <a:ext cx="5543549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6155" name="Text Placeholder 8">
            <a:extLst>
              <a:ext uri="{FF2B5EF4-FFF2-40B4-BE49-F238E27FC236}">
                <a16:creationId xmlns:a16="http://schemas.microsoft.com/office/drawing/2014/main" id="{594B9B7E-B52C-E726-D094-D0F09F9A468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40463" y="1485415"/>
            <a:ext cx="5543549" cy="246221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87124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7E6DA0-432A-FFF0-C696-40EA0B855E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CB6F2139-5FCD-F68B-531F-9427382913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ean Code Principal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47013A9-ABD5-9DEC-A2B7-3673071053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4BB44E-8903-4313-BBED-09991CD8D6D8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87B3A0-6004-5E65-E136-1ECAC46693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pPr/>
              <a:t>8</a:t>
            </a:fld>
            <a:endParaRPr lang="en-CA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47B5EDB-6305-13BD-8499-18B265A33F5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7174" name="Content Placeholder 10">
            <a:extLst>
              <a:ext uri="{FF2B5EF4-FFF2-40B4-BE49-F238E27FC236}">
                <a16:creationId xmlns:a16="http://schemas.microsoft.com/office/drawing/2014/main" id="{4B04F257-9FEF-7932-6788-B9B014F57320}"/>
              </a:ext>
            </a:extLst>
          </p:cNvPr>
          <p:cNvGraphicFramePr>
            <a:graphicFrameLocks noGrp="1"/>
          </p:cNvGraphicFramePr>
          <p:nvPr>
            <p:ph sz="half" idx="14"/>
            <p:extLst>
              <p:ext uri="{D42A27DB-BD31-4B8C-83A1-F6EECF244321}">
                <p14:modId xmlns:p14="http://schemas.microsoft.com/office/powerpoint/2010/main" val="817675802"/>
              </p:ext>
            </p:extLst>
          </p:nvPr>
        </p:nvGraphicFramePr>
        <p:xfrm>
          <a:off x="1599538" y="1149614"/>
          <a:ext cx="4948238" cy="48974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170" name="Picture 2" descr="The Boy Scout Rule in Coding">
            <a:extLst>
              <a:ext uri="{FF2B5EF4-FFF2-40B4-BE49-F238E27FC236}">
                <a16:creationId xmlns:a16="http://schemas.microsoft.com/office/drawing/2014/main" id="{6BEBA5D4-8A5F-02DA-1562-84AD95D63CCC}"/>
              </a:ext>
            </a:extLst>
          </p:cNvPr>
          <p:cNvPicPr>
            <a:picLocks noGrp="1" noChangeAspect="1" noChangeArrowheads="1"/>
          </p:cNvPicPr>
          <p:nvPr>
            <p:ph sz="half"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1652" y="1484312"/>
            <a:ext cx="38989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Error Handling">
            <a:extLst>
              <a:ext uri="{FF2B5EF4-FFF2-40B4-BE49-F238E27FC236}">
                <a16:creationId xmlns:a16="http://schemas.microsoft.com/office/drawing/2014/main" id="{9C529A39-09A9-644A-6B06-8D3DE7A3D0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0236" y="3967147"/>
            <a:ext cx="1726956" cy="171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F9EB55F-C5AD-9280-701E-B7134D3C607E}"/>
              </a:ext>
            </a:extLst>
          </p:cNvPr>
          <p:cNvSpPr/>
          <p:nvPr/>
        </p:nvSpPr>
        <p:spPr>
          <a:xfrm>
            <a:off x="7351652" y="3285067"/>
            <a:ext cx="607015" cy="3132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252000" indent="-252000" algn="l"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US" sz="14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71628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56684B-CE8E-BB1C-101D-03C9029E77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4246009C-2D69-2066-1C53-53F9BD10A3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ean Code Principal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B6B591E-8919-D2AA-670C-0E277F069F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4BB44E-8903-4313-BBED-09991CD8D6D8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7EF1FA-A123-746B-A271-B3A62F55AE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pPr/>
              <a:t>9</a:t>
            </a:fld>
            <a:endParaRPr lang="en-CA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11C9DC1-60BE-32C8-7419-7141D5E280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196" name="Picture 4" descr="Leadership Cartoons - Glasbergen Cartoon Service">
            <a:extLst>
              <a:ext uri="{FF2B5EF4-FFF2-40B4-BE49-F238E27FC236}">
                <a16:creationId xmlns:a16="http://schemas.microsoft.com/office/drawing/2014/main" id="{6EB97E56-29C4-4D15-7913-37EF2B8D14EC}"/>
              </a:ext>
            </a:extLst>
          </p:cNvPr>
          <p:cNvPicPr>
            <a:picLocks noGrp="1"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1721" y="3429000"/>
            <a:ext cx="4114800" cy="3136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8" name="Picture 6">
            <a:extLst>
              <a:ext uri="{FF2B5EF4-FFF2-40B4-BE49-F238E27FC236}">
                <a16:creationId xmlns:a16="http://schemas.microsoft.com/office/drawing/2014/main" id="{F0A9C72E-F9C0-B828-7635-1C4AB7B74B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1721" y="740383"/>
            <a:ext cx="2722379" cy="2722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Content Placeholder 10">
            <a:extLst>
              <a:ext uri="{FF2B5EF4-FFF2-40B4-BE49-F238E27FC236}">
                <a16:creationId xmlns:a16="http://schemas.microsoft.com/office/drawing/2014/main" id="{C976677E-D057-A520-EF59-6C13E77930E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01057702"/>
              </p:ext>
            </p:extLst>
          </p:nvPr>
        </p:nvGraphicFramePr>
        <p:xfrm>
          <a:off x="1599538" y="980281"/>
          <a:ext cx="4948238" cy="48974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2494941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HP">
  <a:themeElements>
    <a:clrScheme name="MHP Color Scheme">
      <a:dk1>
        <a:srgbClr val="262626"/>
      </a:dk1>
      <a:lt1>
        <a:sysClr val="window" lastClr="FFFFFF"/>
      </a:lt1>
      <a:dk2>
        <a:srgbClr val="575757"/>
      </a:dk2>
      <a:lt2>
        <a:srgbClr val="BEBEBE"/>
      </a:lt2>
      <a:accent1>
        <a:srgbClr val="000099"/>
      </a:accent1>
      <a:accent2>
        <a:srgbClr val="009BD2"/>
      </a:accent2>
      <a:accent3>
        <a:srgbClr val="9DCCE6"/>
      </a:accent3>
      <a:accent4>
        <a:srgbClr val="FFDD00"/>
      </a:accent4>
      <a:accent5>
        <a:srgbClr val="87BC49"/>
      </a:accent5>
      <a:accent6>
        <a:srgbClr val="575757"/>
      </a:accent6>
      <a:hlink>
        <a:srgbClr val="000000"/>
      </a:hlink>
      <a:folHlink>
        <a:srgbClr val="000000"/>
      </a:folHlink>
    </a:clrScheme>
    <a:fontScheme name="MHP fonts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144000" tIns="144000" rIns="144000" bIns="144000" rtlCol="0" anchor="t"/>
      <a:lstStyle>
        <a:defPPr marL="252000" indent="-252000" algn="l">
          <a:spcAft>
            <a:spcPts val="600"/>
          </a:spcAft>
          <a:buClr>
            <a:schemeClr val="bg1"/>
          </a:buClr>
          <a:buFont typeface="Wingdings" panose="05000000000000000000" pitchFamily="2" charset="2"/>
          <a:buChar char="§"/>
          <a:defRPr sz="1400" dirty="0">
            <a:solidFill>
              <a:schemeClr val="bg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>
          <a:solidFill>
            <a:schemeClr val="tx2"/>
          </a:solidFill>
        </a:ln>
      </a:spPr>
      <a:bodyPr/>
      <a:lstStyle/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52000" indent="-252000" algn="l">
          <a:spcAft>
            <a:spcPts val="600"/>
          </a:spcAft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2"/>
            </a:solidFill>
          </a:defRPr>
        </a:defPPr>
      </a:lstStyle>
    </a:txDef>
  </a:objectDefaults>
  <a:extraClrSchemeLst/>
  <a:custClrLst>
    <a:custClr name="Gradient Blue">
      <a:srgbClr val="3264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87397148556CB4CB5CED20619356AB6" ma:contentTypeVersion="12" ma:contentTypeDescription="Create a new document." ma:contentTypeScope="" ma:versionID="742fa94278abcc9f40cd631f6ea8a978">
  <xsd:schema xmlns:xsd="http://www.w3.org/2001/XMLSchema" xmlns:xs="http://www.w3.org/2001/XMLSchema" xmlns:p="http://schemas.microsoft.com/office/2006/metadata/properties" xmlns:ns2="1dce1c15-4a14-4afc-8785-fabe058fc9d8" xmlns:ns3="cd91c3e8-c0b7-48e2-ac84-d53da26f891a" targetNamespace="http://schemas.microsoft.com/office/2006/metadata/properties" ma:root="true" ma:fieldsID="fe3c2d0e14264a3e7e9371e77b5524ea" ns2:_="" ns3:_="">
    <xsd:import namespace="1dce1c15-4a14-4afc-8785-fabe058fc9d8"/>
    <xsd:import namespace="cd91c3e8-c0b7-48e2-ac84-d53da26f89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ce1c15-4a14-4afc-8785-fabe058fc9d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2d2ccb64-0838-493a-8158-7dc6b1690cb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91c3e8-c0b7-48e2-ac84-d53da26f891a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dce1c15-4a14-4afc-8785-fabe058fc9d8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8915BD6A-166C-4698-BC7C-77F6986BB76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39CA7F0-49B2-4538-92C9-0D3B6F1CECAB}">
  <ds:schemaRefs>
    <ds:schemaRef ds:uri="1dce1c15-4a14-4afc-8785-fabe058fc9d8"/>
    <ds:schemaRef ds:uri="cd91c3e8-c0b7-48e2-ac84-d53da26f891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CA9CEE26-62B3-4470-8830-97A56F89C059}">
  <ds:schemaRefs>
    <ds:schemaRef ds:uri="http://schemas.microsoft.com/office/2006/documentManagement/types"/>
    <ds:schemaRef ds:uri="http://purl.org/dc/terms/"/>
    <ds:schemaRef ds:uri="http://purl.org/dc/dcmitype/"/>
    <ds:schemaRef ds:uri="http://purl.org/dc/elements/1.1/"/>
    <ds:schemaRef ds:uri="http://www.w3.org/XML/1998/namespace"/>
    <ds:schemaRef ds:uri="http://schemas.microsoft.com/office/2006/metadata/properties"/>
    <ds:schemaRef ds:uri="cd91c3e8-c0b7-48e2-ac84-d53da26f891a"/>
    <ds:schemaRef ds:uri="http://schemas.microsoft.com/office/infopath/2007/PartnerControls"/>
    <ds:schemaRef ds:uri="http://schemas.openxmlformats.org/package/2006/metadata/core-properties"/>
    <ds:schemaRef ds:uri="1dce1c15-4a14-4afc-8785-fabe058fc9d8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95</Words>
  <Application>Microsoft Macintosh PowerPoint</Application>
  <PresentationFormat>Breitbild</PresentationFormat>
  <Paragraphs>175</Paragraphs>
  <Slides>15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2" baseType="lpstr">
      <vt:lpstr>Aptos</vt:lpstr>
      <vt:lpstr>Arial</vt:lpstr>
      <vt:lpstr>Segoe UI</vt:lpstr>
      <vt:lpstr>Symbol</vt:lpstr>
      <vt:lpstr>Wingdings</vt:lpstr>
      <vt:lpstr>MHP</vt:lpstr>
      <vt:lpstr>think-cell Slide</vt:lpstr>
      <vt:lpstr>Clean Code</vt:lpstr>
      <vt:lpstr>AGENDA</vt:lpstr>
      <vt:lpstr>What is Clean Code?</vt:lpstr>
      <vt:lpstr>But why???</vt:lpstr>
      <vt:lpstr>What is Bad Code?</vt:lpstr>
      <vt:lpstr>Even more bad Bad Code examples</vt:lpstr>
      <vt:lpstr>What is Good Code?</vt:lpstr>
      <vt:lpstr>Clean Code Principals</vt:lpstr>
      <vt:lpstr>Clean Code Principals</vt:lpstr>
      <vt:lpstr>Clean Code Principals</vt:lpstr>
      <vt:lpstr>Clean Code Principals</vt:lpstr>
      <vt:lpstr>General Tips</vt:lpstr>
      <vt:lpstr>General Tips</vt:lpstr>
      <vt:lpstr>General Tips</vt:lpstr>
      <vt:lpstr>Where to start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HP Powerpoint Template</dc:title>
  <dc:creator>MHP</dc:creator>
  <cp:lastModifiedBy>Ade, Fabian (VXA2_EXTERN)</cp:lastModifiedBy>
  <cp:revision>17</cp:revision>
  <dcterms:created xsi:type="dcterms:W3CDTF">2024-05-08T11:14:55Z</dcterms:created>
  <dcterms:modified xsi:type="dcterms:W3CDTF">2025-01-27T06:55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87397148556CB4CB5CED20619356AB6</vt:lpwstr>
  </property>
  <property fmtid="{D5CDD505-2E9C-101B-9397-08002B2CF9AE}" pid="3" name="MediaServiceImageTags">
    <vt:lpwstr/>
  </property>
</Properties>
</file>